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7"/>
  </p:notesMasterIdLst>
  <p:handoutMasterIdLst>
    <p:handoutMasterId r:id="rId18"/>
  </p:handoutMasterIdLst>
  <p:sldIdLst>
    <p:sldId id="2145706631" r:id="rId6"/>
    <p:sldId id="259" r:id="rId7"/>
    <p:sldId id="297" r:id="rId8"/>
    <p:sldId id="2145706644" r:id="rId9"/>
    <p:sldId id="2145706646" r:id="rId10"/>
    <p:sldId id="2145706647" r:id="rId11"/>
    <p:sldId id="2145706645" r:id="rId12"/>
    <p:sldId id="2145706648" r:id="rId13"/>
    <p:sldId id="423" r:id="rId14"/>
    <p:sldId id="2145706649" r:id="rId15"/>
    <p:sldId id="1027" r:id="rId16"/>
  </p:sldIdLst>
  <p:sldSz cx="12192000" cy="6858000"/>
  <p:notesSz cx="6858000" cy="9144000"/>
  <p:embeddedFontLst>
    <p:embeddedFont>
      <p:font typeface="Ubuntu" panose="020B0604020202020204" charset="0"/>
      <p:regular r:id="rId19"/>
      <p:bold r:id="rId20"/>
      <p:italic r:id="rId21"/>
      <p:boldItalic r:id="rId22"/>
    </p:embeddedFont>
    <p:embeddedFont>
      <p:font typeface="Verdana" panose="020B0604030504040204" pitchFamily="34" charset="0"/>
      <p:regular r:id="rId23"/>
      <p:bold r:id="rId24"/>
      <p:italic r:id="rId25"/>
      <p:boldItalic r:id="rId26"/>
    </p:embeddedFont>
  </p:embeddedFontLst>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e, Abhijit" initials="MA" lastIdx="1" clrIdx="0">
    <p:extLst>
      <p:ext uri="{19B8F6BF-5375-455C-9EA6-DF929625EA0E}">
        <p15:presenceInfo xmlns:p15="http://schemas.microsoft.com/office/powerpoint/2012/main" userId="S::abhijit.more@capgemini.com::50bd3247-4834-43a8-bef5-31bd8c4228d1" providerId="AD"/>
      </p:ext>
    </p:extLst>
  </p:cmAuthor>
  <p:cmAuthor id="2" name="Spevacek, Jeffrey" initials="SJ" lastIdx="3" clrIdx="1">
    <p:extLst>
      <p:ext uri="{19B8F6BF-5375-455C-9EA6-DF929625EA0E}">
        <p15:presenceInfo xmlns:p15="http://schemas.microsoft.com/office/powerpoint/2012/main" userId="S::jeffrey.spevacek@capgemini.com::4811f0cd-66d1-4d13-805e-31ea7ea865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5341"/>
    <a:srgbClr val="007D74"/>
    <a:srgbClr val="A6A6A6"/>
    <a:srgbClr val="2B0A3D"/>
    <a:srgbClr val="FFDA80"/>
    <a:srgbClr val="E30021"/>
    <a:srgbClr val="57CF80"/>
    <a:srgbClr val="12ABDB"/>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FAF942-0D39-4DA7-84D8-5EFCDF1AA04A}" v="369" dt="2023-11-07T07:42:27.659"/>
    <p1510:client id="{1A22E31D-D52D-417D-8EC9-23FE6421A2C4}" v="67" dt="2023-05-29T06:13:49.762"/>
    <p1510:client id="{1FB1BB97-5431-466F-B465-C8CB3E17C46C}" v="2351" dt="2023-11-07T14:10:09.669"/>
    <p1510:client id="{36B5EE4D-20C4-4036-AD40-AC6032778B16}" v="1" dt="2023-11-07T07:32:58.821"/>
    <p1510:client id="{BE24EA3C-8263-48F4-A8FD-7066EF5CC03F}" v="82" dt="2023-12-07T06:26:57.380"/>
    <p1510:client id="{C90583C2-9EC2-44AD-B5B0-738BA2C6E804}" v="4" dt="2023-12-07T06:29:36.2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I, NITIN" userId="06417cc5-4498-42e2-bf34-ec2c631f1a01" providerId="ADAL" clId="{1A22E31D-D52D-417D-8EC9-23FE6421A2C4}"/>
    <pc:docChg chg="undo redo custSel addSld delSld modSld">
      <pc:chgData name="MALI, NITIN" userId="06417cc5-4498-42e2-bf34-ec2c631f1a01" providerId="ADAL" clId="{1A22E31D-D52D-417D-8EC9-23FE6421A2C4}" dt="2023-05-29T06:38:22.783" v="5477" actId="20577"/>
      <pc:docMkLst>
        <pc:docMk/>
      </pc:docMkLst>
      <pc:sldChg chg="addSp delSp modSp mod">
        <pc:chgData name="MALI, NITIN" userId="06417cc5-4498-42e2-bf34-ec2c631f1a01" providerId="ADAL" clId="{1A22E31D-D52D-417D-8EC9-23FE6421A2C4}" dt="2023-05-28T11:39:42.430" v="1116" actId="113"/>
        <pc:sldMkLst>
          <pc:docMk/>
          <pc:sldMk cId="4210273483" sldId="259"/>
        </pc:sldMkLst>
        <pc:spChg chg="add mod">
          <ac:chgData name="MALI, NITIN" userId="06417cc5-4498-42e2-bf34-ec2c631f1a01" providerId="ADAL" clId="{1A22E31D-D52D-417D-8EC9-23FE6421A2C4}" dt="2023-05-28T11:38:26.207" v="973" actId="6549"/>
          <ac:spMkLst>
            <pc:docMk/>
            <pc:sldMk cId="4210273483" sldId="259"/>
            <ac:spMk id="6" creationId="{B94C45C5-4FB9-AE68-DC7F-5736298DC561}"/>
          </ac:spMkLst>
        </pc:spChg>
        <pc:spChg chg="mod">
          <ac:chgData name="MALI, NITIN" userId="06417cc5-4498-42e2-bf34-ec2c631f1a01" providerId="ADAL" clId="{1A22E31D-D52D-417D-8EC9-23FE6421A2C4}" dt="2023-05-28T11:34:20.277" v="742" actId="14100"/>
          <ac:spMkLst>
            <pc:docMk/>
            <pc:sldMk cId="4210273483" sldId="259"/>
            <ac:spMk id="11" creationId="{B11D2B6B-72C7-4F8A-B86A-D55330E197B1}"/>
          </ac:spMkLst>
        </pc:spChg>
        <pc:spChg chg="del">
          <ac:chgData name="MALI, NITIN" userId="06417cc5-4498-42e2-bf34-ec2c631f1a01" providerId="ADAL" clId="{1A22E31D-D52D-417D-8EC9-23FE6421A2C4}" dt="2023-05-28T11:27:09.355" v="105" actId="478"/>
          <ac:spMkLst>
            <pc:docMk/>
            <pc:sldMk cId="4210273483" sldId="259"/>
            <ac:spMk id="12" creationId="{EB580392-8E1B-48B1-9020-B56CDDDC3879}"/>
          </ac:spMkLst>
        </pc:spChg>
        <pc:spChg chg="del mod">
          <ac:chgData name="MALI, NITIN" userId="06417cc5-4498-42e2-bf34-ec2c631f1a01" providerId="ADAL" clId="{1A22E31D-D52D-417D-8EC9-23FE6421A2C4}" dt="2023-05-28T11:27:44.426" v="113" actId="478"/>
          <ac:spMkLst>
            <pc:docMk/>
            <pc:sldMk cId="4210273483" sldId="259"/>
            <ac:spMk id="13" creationId="{3E873251-26C5-4775-A891-4CB517FFBD85}"/>
          </ac:spMkLst>
        </pc:spChg>
        <pc:spChg chg="add mod">
          <ac:chgData name="MALI, NITIN" userId="06417cc5-4498-42e2-bf34-ec2c631f1a01" providerId="ADAL" clId="{1A22E31D-D52D-417D-8EC9-23FE6421A2C4}" dt="2023-05-28T11:39:42.430" v="1116" actId="113"/>
          <ac:spMkLst>
            <pc:docMk/>
            <pc:sldMk cId="4210273483" sldId="259"/>
            <ac:spMk id="14" creationId="{5F3E1091-DD1A-1FEC-300B-6BD968B0B2FE}"/>
          </ac:spMkLst>
        </pc:spChg>
        <pc:spChg chg="del">
          <ac:chgData name="MALI, NITIN" userId="06417cc5-4498-42e2-bf34-ec2c631f1a01" providerId="ADAL" clId="{1A22E31D-D52D-417D-8EC9-23FE6421A2C4}" dt="2023-05-28T11:27:57.718" v="117" actId="478"/>
          <ac:spMkLst>
            <pc:docMk/>
            <pc:sldMk cId="4210273483" sldId="259"/>
            <ac:spMk id="16" creationId="{5933F852-10C3-4386-9B8F-2EC9CBD512B2}"/>
          </ac:spMkLst>
        </pc:spChg>
        <pc:spChg chg="del">
          <ac:chgData name="MALI, NITIN" userId="06417cc5-4498-42e2-bf34-ec2c631f1a01" providerId="ADAL" clId="{1A22E31D-D52D-417D-8EC9-23FE6421A2C4}" dt="2023-05-28T11:28:11.639" v="122" actId="478"/>
          <ac:spMkLst>
            <pc:docMk/>
            <pc:sldMk cId="4210273483" sldId="259"/>
            <ac:spMk id="17" creationId="{5524C808-DB71-42FF-BD39-E13352FE2C00}"/>
          </ac:spMkLst>
        </pc:spChg>
        <pc:spChg chg="del">
          <ac:chgData name="MALI, NITIN" userId="06417cc5-4498-42e2-bf34-ec2c631f1a01" providerId="ADAL" clId="{1A22E31D-D52D-417D-8EC9-23FE6421A2C4}" dt="2023-05-28T11:25:49.877" v="90" actId="478"/>
          <ac:spMkLst>
            <pc:docMk/>
            <pc:sldMk cId="4210273483" sldId="259"/>
            <ac:spMk id="18" creationId="{DE884D8A-5E82-4D1A-8248-5309650D58B0}"/>
          </ac:spMkLst>
        </pc:spChg>
        <pc:spChg chg="del">
          <ac:chgData name="MALI, NITIN" userId="06417cc5-4498-42e2-bf34-ec2c631f1a01" providerId="ADAL" clId="{1A22E31D-D52D-417D-8EC9-23FE6421A2C4}" dt="2023-05-28T11:28:05.052" v="120" actId="478"/>
          <ac:spMkLst>
            <pc:docMk/>
            <pc:sldMk cId="4210273483" sldId="259"/>
            <ac:spMk id="24" creationId="{68712CF2-8EB5-4CF9-80E3-58220E1B9605}"/>
          </ac:spMkLst>
        </pc:spChg>
        <pc:spChg chg="del">
          <ac:chgData name="MALI, NITIN" userId="06417cc5-4498-42e2-bf34-ec2c631f1a01" providerId="ADAL" clId="{1A22E31D-D52D-417D-8EC9-23FE6421A2C4}" dt="2023-05-28T11:28:08.655" v="121" actId="478"/>
          <ac:spMkLst>
            <pc:docMk/>
            <pc:sldMk cId="4210273483" sldId="259"/>
            <ac:spMk id="25" creationId="{8A4D7742-FF66-498A-825F-087A76BE84F7}"/>
          </ac:spMkLst>
        </pc:spChg>
        <pc:spChg chg="del">
          <ac:chgData name="MALI, NITIN" userId="06417cc5-4498-42e2-bf34-ec2c631f1a01" providerId="ADAL" clId="{1A22E31D-D52D-417D-8EC9-23FE6421A2C4}" dt="2023-05-28T11:26:03.208" v="95" actId="478"/>
          <ac:spMkLst>
            <pc:docMk/>
            <pc:sldMk cId="4210273483" sldId="259"/>
            <ac:spMk id="26" creationId="{AC35203D-153B-439C-97B2-669ED18BAEE3}"/>
          </ac:spMkLst>
        </pc:spChg>
        <pc:spChg chg="del">
          <ac:chgData name="MALI, NITIN" userId="06417cc5-4498-42e2-bf34-ec2c631f1a01" providerId="ADAL" clId="{1A22E31D-D52D-417D-8EC9-23FE6421A2C4}" dt="2023-05-28T11:26:01.534" v="94" actId="478"/>
          <ac:spMkLst>
            <pc:docMk/>
            <pc:sldMk cId="4210273483" sldId="259"/>
            <ac:spMk id="27" creationId="{93BFA742-E108-46AB-AA73-5AE951DFDD95}"/>
          </ac:spMkLst>
        </pc:spChg>
        <pc:spChg chg="del">
          <ac:chgData name="MALI, NITIN" userId="06417cc5-4498-42e2-bf34-ec2c631f1a01" providerId="ADAL" clId="{1A22E31D-D52D-417D-8EC9-23FE6421A2C4}" dt="2023-05-28T11:25:55.301" v="91" actId="478"/>
          <ac:spMkLst>
            <pc:docMk/>
            <pc:sldMk cId="4210273483" sldId="259"/>
            <ac:spMk id="28" creationId="{0798EA06-82D6-44A5-A9F9-0CDA66B93978}"/>
          </ac:spMkLst>
        </pc:spChg>
        <pc:spChg chg="del mod">
          <ac:chgData name="MALI, NITIN" userId="06417cc5-4498-42e2-bf34-ec2c631f1a01" providerId="ADAL" clId="{1A22E31D-D52D-417D-8EC9-23FE6421A2C4}" dt="2023-05-28T11:26:07.669" v="97" actId="478"/>
          <ac:spMkLst>
            <pc:docMk/>
            <pc:sldMk cId="4210273483" sldId="259"/>
            <ac:spMk id="31" creationId="{330920A1-C056-479A-90BF-3843E865831B}"/>
          </ac:spMkLst>
        </pc:spChg>
        <pc:spChg chg="del mod topLvl">
          <ac:chgData name="MALI, NITIN" userId="06417cc5-4498-42e2-bf34-ec2c631f1a01" providerId="ADAL" clId="{1A22E31D-D52D-417D-8EC9-23FE6421A2C4}" dt="2023-05-28T11:36:15.015" v="770" actId="478"/>
          <ac:spMkLst>
            <pc:docMk/>
            <pc:sldMk cId="4210273483" sldId="259"/>
            <ac:spMk id="51" creationId="{2B586630-784E-4805-AEEE-364581D477BE}"/>
          </ac:spMkLst>
        </pc:spChg>
        <pc:spChg chg="mod topLvl">
          <ac:chgData name="MALI, NITIN" userId="06417cc5-4498-42e2-bf34-ec2c631f1a01" providerId="ADAL" clId="{1A22E31D-D52D-417D-8EC9-23FE6421A2C4}" dt="2023-05-28T11:36:15.015" v="770" actId="478"/>
          <ac:spMkLst>
            <pc:docMk/>
            <pc:sldMk cId="4210273483" sldId="259"/>
            <ac:spMk id="52" creationId="{32BB599F-7513-44C7-A9C8-5A8E5C0790D4}"/>
          </ac:spMkLst>
        </pc:spChg>
        <pc:spChg chg="mod">
          <ac:chgData name="MALI, NITIN" userId="06417cc5-4498-42e2-bf34-ec2c631f1a01" providerId="ADAL" clId="{1A22E31D-D52D-417D-8EC9-23FE6421A2C4}" dt="2023-05-28T11:34:01.435" v="740" actId="14100"/>
          <ac:spMkLst>
            <pc:docMk/>
            <pc:sldMk cId="4210273483" sldId="259"/>
            <ac:spMk id="56" creationId="{674BC3DC-98E2-4E03-85E8-0DCC5377F73D}"/>
          </ac:spMkLst>
        </pc:spChg>
        <pc:spChg chg="del mod">
          <ac:chgData name="MALI, NITIN" userId="06417cc5-4498-42e2-bf34-ec2c631f1a01" providerId="ADAL" clId="{1A22E31D-D52D-417D-8EC9-23FE6421A2C4}" dt="2023-05-28T11:25:59.519" v="93" actId="478"/>
          <ac:spMkLst>
            <pc:docMk/>
            <pc:sldMk cId="4210273483" sldId="259"/>
            <ac:spMk id="57" creationId="{EFD9EAFE-8790-4371-8245-9B30BC5469C4}"/>
          </ac:spMkLst>
        </pc:spChg>
        <pc:spChg chg="del mod">
          <ac:chgData name="MALI, NITIN" userId="06417cc5-4498-42e2-bf34-ec2c631f1a01" providerId="ADAL" clId="{1A22E31D-D52D-417D-8EC9-23FE6421A2C4}" dt="2023-05-28T11:26:11.893" v="100" actId="478"/>
          <ac:spMkLst>
            <pc:docMk/>
            <pc:sldMk cId="4210273483" sldId="259"/>
            <ac:spMk id="58" creationId="{17A81B9C-B2A2-4E88-9F35-BA5A0F4CD0EF}"/>
          </ac:spMkLst>
        </pc:spChg>
        <pc:spChg chg="del">
          <ac:chgData name="MALI, NITIN" userId="06417cc5-4498-42e2-bf34-ec2c631f1a01" providerId="ADAL" clId="{1A22E31D-D52D-417D-8EC9-23FE6421A2C4}" dt="2023-05-28T11:26:21.607" v="102" actId="478"/>
          <ac:spMkLst>
            <pc:docMk/>
            <pc:sldMk cId="4210273483" sldId="259"/>
            <ac:spMk id="59" creationId="{A1A53A24-DD86-4089-A7EE-FE9DE74024C1}"/>
          </ac:spMkLst>
        </pc:spChg>
        <pc:spChg chg="del">
          <ac:chgData name="MALI, NITIN" userId="06417cc5-4498-42e2-bf34-ec2c631f1a01" providerId="ADAL" clId="{1A22E31D-D52D-417D-8EC9-23FE6421A2C4}" dt="2023-05-28T11:25:16.053" v="61" actId="478"/>
          <ac:spMkLst>
            <pc:docMk/>
            <pc:sldMk cId="4210273483" sldId="259"/>
            <ac:spMk id="61" creationId="{2F6B9E29-3929-4A82-8BD4-6E6A8B4E2B20}"/>
          </ac:spMkLst>
        </pc:spChg>
        <pc:grpChg chg="add del mod">
          <ac:chgData name="MALI, NITIN" userId="06417cc5-4498-42e2-bf34-ec2c631f1a01" providerId="ADAL" clId="{1A22E31D-D52D-417D-8EC9-23FE6421A2C4}" dt="2023-05-28T11:36:02.424" v="765" actId="478"/>
          <ac:grpSpMkLst>
            <pc:docMk/>
            <pc:sldMk cId="4210273483" sldId="259"/>
            <ac:grpSpMk id="5" creationId="{088E4CDC-5C9A-4B7A-93E6-237EDB151704}"/>
          </ac:grpSpMkLst>
        </pc:grpChg>
        <pc:grpChg chg="del">
          <ac:chgData name="MALI, NITIN" userId="06417cc5-4498-42e2-bf34-ec2c631f1a01" providerId="ADAL" clId="{1A22E31D-D52D-417D-8EC9-23FE6421A2C4}" dt="2023-05-28T11:27:44.426" v="113" actId="478"/>
          <ac:grpSpMkLst>
            <pc:docMk/>
            <pc:sldMk cId="4210273483" sldId="259"/>
            <ac:grpSpMk id="7" creationId="{0C8911AD-AF9D-43B0-BE7D-A1B3A3A93C41}"/>
          </ac:grpSpMkLst>
        </pc:grpChg>
        <pc:grpChg chg="del">
          <ac:chgData name="MALI, NITIN" userId="06417cc5-4498-42e2-bf34-ec2c631f1a01" providerId="ADAL" clId="{1A22E31D-D52D-417D-8EC9-23FE6421A2C4}" dt="2023-05-28T11:25:46.209" v="89" actId="478"/>
          <ac:grpSpMkLst>
            <pc:docMk/>
            <pc:sldMk cId="4210273483" sldId="259"/>
            <ac:grpSpMk id="15" creationId="{8075BA3D-C349-40BD-94D2-787A0140ADC5}"/>
          </ac:grpSpMkLst>
        </pc:grpChg>
        <pc:grpChg chg="del">
          <ac:chgData name="MALI, NITIN" userId="06417cc5-4498-42e2-bf34-ec2c631f1a01" providerId="ADAL" clId="{1A22E31D-D52D-417D-8EC9-23FE6421A2C4}" dt="2023-05-28T11:26:09.098" v="98" actId="478"/>
          <ac:grpSpMkLst>
            <pc:docMk/>
            <pc:sldMk cId="4210273483" sldId="259"/>
            <ac:grpSpMk id="29" creationId="{229E0CA3-C757-4166-A9F6-D95F6D829847}"/>
          </ac:grpSpMkLst>
        </pc:grpChg>
        <pc:grpChg chg="del">
          <ac:chgData name="MALI, NITIN" userId="06417cc5-4498-42e2-bf34-ec2c631f1a01" providerId="ADAL" clId="{1A22E31D-D52D-417D-8EC9-23FE6421A2C4}" dt="2023-05-28T11:26:14.080" v="101" actId="478"/>
          <ac:grpSpMkLst>
            <pc:docMk/>
            <pc:sldMk cId="4210273483" sldId="259"/>
            <ac:grpSpMk id="36" creationId="{158F76B0-D134-4144-BC8A-879FE3091572}"/>
          </ac:grpSpMkLst>
        </pc:grpChg>
        <pc:grpChg chg="add del mod">
          <ac:chgData name="MALI, NITIN" userId="06417cc5-4498-42e2-bf34-ec2c631f1a01" providerId="ADAL" clId="{1A22E31D-D52D-417D-8EC9-23FE6421A2C4}" dt="2023-05-28T11:36:15.015" v="770" actId="478"/>
          <ac:grpSpMkLst>
            <pc:docMk/>
            <pc:sldMk cId="4210273483" sldId="259"/>
            <ac:grpSpMk id="50" creationId="{1BB0FCE1-5594-4294-AF54-E6DB42B838A6}"/>
          </ac:grpSpMkLst>
        </pc:grpChg>
        <pc:grpChg chg="del">
          <ac:chgData name="MALI, NITIN" userId="06417cc5-4498-42e2-bf34-ec2c631f1a01" providerId="ADAL" clId="{1A22E31D-D52D-417D-8EC9-23FE6421A2C4}" dt="2023-05-28T11:25:18.374" v="62" actId="478"/>
          <ac:grpSpMkLst>
            <pc:docMk/>
            <pc:sldMk cId="4210273483" sldId="259"/>
            <ac:grpSpMk id="53" creationId="{B686C060-7696-4581-9B6B-50F4D8A02FC3}"/>
          </ac:grpSpMkLst>
        </pc:grpChg>
        <pc:picChg chg="add mod">
          <ac:chgData name="MALI, NITIN" userId="06417cc5-4498-42e2-bf34-ec2c631f1a01" providerId="ADAL" clId="{1A22E31D-D52D-417D-8EC9-23FE6421A2C4}" dt="2023-05-28T11:29:08.759" v="127" actId="1076"/>
          <ac:picMkLst>
            <pc:docMk/>
            <pc:sldMk cId="4210273483" sldId="259"/>
            <ac:picMk id="3" creationId="{7DBAA3ED-862C-1B77-F18B-851E89BE0BE7}"/>
          </ac:picMkLst>
        </pc:picChg>
        <pc:picChg chg="add mod">
          <ac:chgData name="MALI, NITIN" userId="06417cc5-4498-42e2-bf34-ec2c631f1a01" providerId="ADAL" clId="{1A22E31D-D52D-417D-8EC9-23FE6421A2C4}" dt="2023-05-28T11:35:33.841" v="757" actId="688"/>
          <ac:picMkLst>
            <pc:docMk/>
            <pc:sldMk cId="4210273483" sldId="259"/>
            <ac:picMk id="4" creationId="{9D52AC32-0228-1771-0C41-FABBCB534AC0}"/>
          </ac:picMkLst>
        </pc:picChg>
      </pc:sldChg>
      <pc:sldChg chg="addSp delSp modSp mod">
        <pc:chgData name="MALI, NITIN" userId="06417cc5-4498-42e2-bf34-ec2c631f1a01" providerId="ADAL" clId="{1A22E31D-D52D-417D-8EC9-23FE6421A2C4}" dt="2023-05-28T12:20:10.547" v="1955" actId="20577"/>
        <pc:sldMkLst>
          <pc:docMk/>
          <pc:sldMk cId="2469419301" sldId="297"/>
        </pc:sldMkLst>
        <pc:spChg chg="add mod">
          <ac:chgData name="MALI, NITIN" userId="06417cc5-4498-42e2-bf34-ec2c631f1a01" providerId="ADAL" clId="{1A22E31D-D52D-417D-8EC9-23FE6421A2C4}" dt="2023-05-28T12:01:18.174" v="1747" actId="255"/>
          <ac:spMkLst>
            <pc:docMk/>
            <pc:sldMk cId="2469419301" sldId="297"/>
            <ac:spMk id="2" creationId="{AE8FF802-1493-9BBE-761B-2422A2C418D6}"/>
          </ac:spMkLst>
        </pc:spChg>
        <pc:spChg chg="add mod">
          <ac:chgData name="MALI, NITIN" userId="06417cc5-4498-42e2-bf34-ec2c631f1a01" providerId="ADAL" clId="{1A22E31D-D52D-417D-8EC9-23FE6421A2C4}" dt="2023-05-28T12:01:27.887" v="1749" actId="14100"/>
          <ac:spMkLst>
            <pc:docMk/>
            <pc:sldMk cId="2469419301" sldId="297"/>
            <ac:spMk id="3" creationId="{1D00F9EF-EA0F-2BA3-DAC6-29E7AFCFFE7E}"/>
          </ac:spMkLst>
        </pc:spChg>
        <pc:spChg chg="add mod">
          <ac:chgData name="MALI, NITIN" userId="06417cc5-4498-42e2-bf34-ec2c631f1a01" providerId="ADAL" clId="{1A22E31D-D52D-417D-8EC9-23FE6421A2C4}" dt="2023-05-28T11:48:09.404" v="1344" actId="14100"/>
          <ac:spMkLst>
            <pc:docMk/>
            <pc:sldMk cId="2469419301" sldId="297"/>
            <ac:spMk id="4" creationId="{20B9FFCC-E209-67E8-62E4-111E307DC6EE}"/>
          </ac:spMkLst>
        </pc:spChg>
        <pc:spChg chg="del">
          <ac:chgData name="MALI, NITIN" userId="06417cc5-4498-42e2-bf34-ec2c631f1a01" providerId="ADAL" clId="{1A22E31D-D52D-417D-8EC9-23FE6421A2C4}" dt="2023-05-28T11:40:38.231" v="1153" actId="478"/>
          <ac:spMkLst>
            <pc:docMk/>
            <pc:sldMk cId="2469419301" sldId="297"/>
            <ac:spMk id="5" creationId="{D7F175A0-6DE5-4B24-8374-3B97827D6CEE}"/>
          </ac:spMkLst>
        </pc:spChg>
        <pc:spChg chg="del mod">
          <ac:chgData name="MALI, NITIN" userId="06417cc5-4498-42e2-bf34-ec2c631f1a01" providerId="ADAL" clId="{1A22E31D-D52D-417D-8EC9-23FE6421A2C4}" dt="2023-05-28T11:41:36.813" v="1170" actId="478"/>
          <ac:spMkLst>
            <pc:docMk/>
            <pc:sldMk cId="2469419301" sldId="297"/>
            <ac:spMk id="6" creationId="{2641EEB3-22F7-4EEB-BCCE-F6135E29037B}"/>
          </ac:spMkLst>
        </pc:spChg>
        <pc:spChg chg="del">
          <ac:chgData name="MALI, NITIN" userId="06417cc5-4498-42e2-bf34-ec2c631f1a01" providerId="ADAL" clId="{1A22E31D-D52D-417D-8EC9-23FE6421A2C4}" dt="2023-05-28T11:41:42.048" v="1171" actId="478"/>
          <ac:spMkLst>
            <pc:docMk/>
            <pc:sldMk cId="2469419301" sldId="297"/>
            <ac:spMk id="7" creationId="{15E3BBAC-7192-4323-B5E6-2DC2E6BC0D9D}"/>
          </ac:spMkLst>
        </pc:spChg>
        <pc:spChg chg="del mod">
          <ac:chgData name="MALI, NITIN" userId="06417cc5-4498-42e2-bf34-ec2c631f1a01" providerId="ADAL" clId="{1A22E31D-D52D-417D-8EC9-23FE6421A2C4}" dt="2023-05-28T11:41:29.050" v="1168" actId="478"/>
          <ac:spMkLst>
            <pc:docMk/>
            <pc:sldMk cId="2469419301" sldId="297"/>
            <ac:spMk id="8" creationId="{8EB3CFA0-875A-456C-98EA-698950690B84}"/>
          </ac:spMkLst>
        </pc:spChg>
        <pc:spChg chg="add del mod">
          <ac:chgData name="MALI, NITIN" userId="06417cc5-4498-42e2-bf34-ec2c631f1a01" providerId="ADAL" clId="{1A22E31D-D52D-417D-8EC9-23FE6421A2C4}" dt="2023-05-28T11:53:32.068" v="1375" actId="478"/>
          <ac:spMkLst>
            <pc:docMk/>
            <pc:sldMk cId="2469419301" sldId="297"/>
            <ac:spMk id="9" creationId="{00D000E2-115F-FA0C-AFBC-3BA133D105C3}"/>
          </ac:spMkLst>
        </pc:spChg>
        <pc:spChg chg="add del mod">
          <ac:chgData name="MALI, NITIN" userId="06417cc5-4498-42e2-bf34-ec2c631f1a01" providerId="ADAL" clId="{1A22E31D-D52D-417D-8EC9-23FE6421A2C4}" dt="2023-05-28T11:53:53.834" v="1381" actId="478"/>
          <ac:spMkLst>
            <pc:docMk/>
            <pc:sldMk cId="2469419301" sldId="297"/>
            <ac:spMk id="10" creationId="{0D056689-F93D-14C3-BAD7-BC1269D99097}"/>
          </ac:spMkLst>
        </pc:spChg>
        <pc:spChg chg="del">
          <ac:chgData name="MALI, NITIN" userId="06417cc5-4498-42e2-bf34-ec2c631f1a01" providerId="ADAL" clId="{1A22E31D-D52D-417D-8EC9-23FE6421A2C4}" dt="2023-05-28T11:41:42.048" v="1171" actId="478"/>
          <ac:spMkLst>
            <pc:docMk/>
            <pc:sldMk cId="2469419301" sldId="297"/>
            <ac:spMk id="11" creationId="{97640BA5-1BE8-4DE0-B7D2-40BE03001DB9}"/>
          </ac:spMkLst>
        </pc:spChg>
        <pc:spChg chg="del">
          <ac:chgData name="MALI, NITIN" userId="06417cc5-4498-42e2-bf34-ec2c631f1a01" providerId="ADAL" clId="{1A22E31D-D52D-417D-8EC9-23FE6421A2C4}" dt="2023-05-28T11:41:42.048" v="1171" actId="478"/>
          <ac:spMkLst>
            <pc:docMk/>
            <pc:sldMk cId="2469419301" sldId="297"/>
            <ac:spMk id="12" creationId="{78AC2171-ADF4-428C-B7FF-BC7D601CECAE}"/>
          </ac:spMkLst>
        </pc:spChg>
        <pc:spChg chg="del">
          <ac:chgData name="MALI, NITIN" userId="06417cc5-4498-42e2-bf34-ec2c631f1a01" providerId="ADAL" clId="{1A22E31D-D52D-417D-8EC9-23FE6421A2C4}" dt="2023-05-28T11:41:42.048" v="1171" actId="478"/>
          <ac:spMkLst>
            <pc:docMk/>
            <pc:sldMk cId="2469419301" sldId="297"/>
            <ac:spMk id="13" creationId="{1DD5A8F2-4235-417F-81FD-0DD2E624F707}"/>
          </ac:spMkLst>
        </pc:spChg>
        <pc:spChg chg="del">
          <ac:chgData name="MALI, NITIN" userId="06417cc5-4498-42e2-bf34-ec2c631f1a01" providerId="ADAL" clId="{1A22E31D-D52D-417D-8EC9-23FE6421A2C4}" dt="2023-05-28T11:41:42.048" v="1171" actId="478"/>
          <ac:spMkLst>
            <pc:docMk/>
            <pc:sldMk cId="2469419301" sldId="297"/>
            <ac:spMk id="14" creationId="{533EDBDF-F701-437F-8411-3B2AFFA096D1}"/>
          </ac:spMkLst>
        </pc:spChg>
        <pc:spChg chg="add del mod">
          <ac:chgData name="MALI, NITIN" userId="06417cc5-4498-42e2-bf34-ec2c631f1a01" providerId="ADAL" clId="{1A22E31D-D52D-417D-8EC9-23FE6421A2C4}" dt="2023-05-28T11:54:15.582" v="1387" actId="478"/>
          <ac:spMkLst>
            <pc:docMk/>
            <pc:sldMk cId="2469419301" sldId="297"/>
            <ac:spMk id="15" creationId="{538EE088-3CD8-CA26-C7CE-31698D3F98D7}"/>
          </ac:spMkLst>
        </pc:spChg>
        <pc:spChg chg="add del mod">
          <ac:chgData name="MALI, NITIN" userId="06417cc5-4498-42e2-bf34-ec2c631f1a01" providerId="ADAL" clId="{1A22E31D-D52D-417D-8EC9-23FE6421A2C4}" dt="2023-05-28T11:54:41.932" v="1393" actId="478"/>
          <ac:spMkLst>
            <pc:docMk/>
            <pc:sldMk cId="2469419301" sldId="297"/>
            <ac:spMk id="16" creationId="{951D335B-EA79-560C-C220-5338ED8E4E90}"/>
          </ac:spMkLst>
        </pc:spChg>
        <pc:spChg chg="add del mod">
          <ac:chgData name="MALI, NITIN" userId="06417cc5-4498-42e2-bf34-ec2c631f1a01" providerId="ADAL" clId="{1A22E31D-D52D-417D-8EC9-23FE6421A2C4}" dt="2023-05-28T11:55:36.990" v="1422" actId="478"/>
          <ac:spMkLst>
            <pc:docMk/>
            <pc:sldMk cId="2469419301" sldId="297"/>
            <ac:spMk id="25" creationId="{435FBD73-0AD4-8704-23A2-30824572E2A7}"/>
          </ac:spMkLst>
        </pc:spChg>
        <pc:spChg chg="add del mod ord">
          <ac:chgData name="MALI, NITIN" userId="06417cc5-4498-42e2-bf34-ec2c631f1a01" providerId="ADAL" clId="{1A22E31D-D52D-417D-8EC9-23FE6421A2C4}" dt="2023-05-28T11:53:23.247" v="1372" actId="478"/>
          <ac:spMkLst>
            <pc:docMk/>
            <pc:sldMk cId="2469419301" sldId="297"/>
            <ac:spMk id="28" creationId="{385BF402-52E9-82D0-4CBD-07BBBF51B873}"/>
          </ac:spMkLst>
        </pc:spChg>
        <pc:spChg chg="del mod">
          <ac:chgData name="MALI, NITIN" userId="06417cc5-4498-42e2-bf34-ec2c631f1a01" providerId="ADAL" clId="{1A22E31D-D52D-417D-8EC9-23FE6421A2C4}" dt="2023-05-28T11:41:11.906" v="1162" actId="478"/>
          <ac:spMkLst>
            <pc:docMk/>
            <pc:sldMk cId="2469419301" sldId="297"/>
            <ac:spMk id="30" creationId="{555038D5-5344-4DE1-95A3-D7A4F571667D}"/>
          </ac:spMkLst>
        </pc:spChg>
        <pc:spChg chg="del mod">
          <ac:chgData name="MALI, NITIN" userId="06417cc5-4498-42e2-bf34-ec2c631f1a01" providerId="ADAL" clId="{1A22E31D-D52D-417D-8EC9-23FE6421A2C4}" dt="2023-05-28T11:41:13.428" v="1163" actId="478"/>
          <ac:spMkLst>
            <pc:docMk/>
            <pc:sldMk cId="2469419301" sldId="297"/>
            <ac:spMk id="31" creationId="{FB230E83-BE06-4E2F-8EFB-DF3A01BE0CB1}"/>
          </ac:spMkLst>
        </pc:spChg>
        <pc:spChg chg="mod">
          <ac:chgData name="MALI, NITIN" userId="06417cc5-4498-42e2-bf34-ec2c631f1a01" providerId="ADAL" clId="{1A22E31D-D52D-417D-8EC9-23FE6421A2C4}" dt="2023-05-28T12:10:22.267" v="1864" actId="20577"/>
          <ac:spMkLst>
            <pc:docMk/>
            <pc:sldMk cId="2469419301" sldId="297"/>
            <ac:spMk id="34" creationId="{8E52B74C-311F-4B3B-B5E0-942404C9CD5D}"/>
          </ac:spMkLst>
        </pc:spChg>
        <pc:spChg chg="add mod">
          <ac:chgData name="MALI, NITIN" userId="06417cc5-4498-42e2-bf34-ec2c631f1a01" providerId="ADAL" clId="{1A22E31D-D52D-417D-8EC9-23FE6421A2C4}" dt="2023-05-28T12:18:43.615" v="1943" actId="20577"/>
          <ac:spMkLst>
            <pc:docMk/>
            <pc:sldMk cId="2469419301" sldId="297"/>
            <ac:spMk id="44" creationId="{80B716B2-2406-D6B1-109B-06B62DF61F19}"/>
          </ac:spMkLst>
        </pc:spChg>
        <pc:spChg chg="add mod">
          <ac:chgData name="MALI, NITIN" userId="06417cc5-4498-42e2-bf34-ec2c631f1a01" providerId="ADAL" clId="{1A22E31D-D52D-417D-8EC9-23FE6421A2C4}" dt="2023-05-28T12:00:34.123" v="1739" actId="108"/>
          <ac:spMkLst>
            <pc:docMk/>
            <pc:sldMk cId="2469419301" sldId="297"/>
            <ac:spMk id="45" creationId="{3C22C92E-F5D6-293E-B8B7-4996892D10F3}"/>
          </ac:spMkLst>
        </pc:spChg>
        <pc:spChg chg="add mod">
          <ac:chgData name="MALI, NITIN" userId="06417cc5-4498-42e2-bf34-ec2c631f1a01" providerId="ADAL" clId="{1A22E31D-D52D-417D-8EC9-23FE6421A2C4}" dt="2023-05-28T12:00:37.108" v="1740" actId="108"/>
          <ac:spMkLst>
            <pc:docMk/>
            <pc:sldMk cId="2469419301" sldId="297"/>
            <ac:spMk id="46" creationId="{2A7C1170-3EB7-21D1-3486-A581C7F7E284}"/>
          </ac:spMkLst>
        </pc:spChg>
        <pc:spChg chg="add mod">
          <ac:chgData name="MALI, NITIN" userId="06417cc5-4498-42e2-bf34-ec2c631f1a01" providerId="ADAL" clId="{1A22E31D-D52D-417D-8EC9-23FE6421A2C4}" dt="2023-05-28T12:00:51.450" v="1743" actId="108"/>
          <ac:spMkLst>
            <pc:docMk/>
            <pc:sldMk cId="2469419301" sldId="297"/>
            <ac:spMk id="47" creationId="{ED2EDBD1-CEA9-695E-2DB5-8599D3893148}"/>
          </ac:spMkLst>
        </pc:spChg>
        <pc:spChg chg="add mod">
          <ac:chgData name="MALI, NITIN" userId="06417cc5-4498-42e2-bf34-ec2c631f1a01" providerId="ADAL" clId="{1A22E31D-D52D-417D-8EC9-23FE6421A2C4}" dt="2023-05-28T12:20:10.547" v="1955" actId="20577"/>
          <ac:spMkLst>
            <pc:docMk/>
            <pc:sldMk cId="2469419301" sldId="297"/>
            <ac:spMk id="48" creationId="{840823CE-B862-A454-AFB5-CBEBCEF6E11A}"/>
          </ac:spMkLst>
        </pc:spChg>
        <pc:spChg chg="add mod">
          <ac:chgData name="MALI, NITIN" userId="06417cc5-4498-42e2-bf34-ec2c631f1a01" providerId="ADAL" clId="{1A22E31D-D52D-417D-8EC9-23FE6421A2C4}" dt="2023-05-28T12:14:24.041" v="1907" actId="1076"/>
          <ac:spMkLst>
            <pc:docMk/>
            <pc:sldMk cId="2469419301" sldId="297"/>
            <ac:spMk id="62" creationId="{59C2B0E0-F3EA-F9D1-E212-F32812D70E42}"/>
          </ac:spMkLst>
        </pc:spChg>
        <pc:spChg chg="add mod">
          <ac:chgData name="MALI, NITIN" userId="06417cc5-4498-42e2-bf34-ec2c631f1a01" providerId="ADAL" clId="{1A22E31D-D52D-417D-8EC9-23FE6421A2C4}" dt="2023-05-28T12:13:58.821" v="1903" actId="1076"/>
          <ac:spMkLst>
            <pc:docMk/>
            <pc:sldMk cId="2469419301" sldId="297"/>
            <ac:spMk id="63" creationId="{B3EFAEE3-346F-AEDC-D605-EEF8053900F4}"/>
          </ac:spMkLst>
        </pc:spChg>
        <pc:spChg chg="add mod">
          <ac:chgData name="MALI, NITIN" userId="06417cc5-4498-42e2-bf34-ec2c631f1a01" providerId="ADAL" clId="{1A22E31D-D52D-417D-8EC9-23FE6421A2C4}" dt="2023-05-28T12:14:06.295" v="1904" actId="1076"/>
          <ac:spMkLst>
            <pc:docMk/>
            <pc:sldMk cId="2469419301" sldId="297"/>
            <ac:spMk id="64" creationId="{ABC03CF1-A133-3776-3199-CC1D68F54F26}"/>
          </ac:spMkLst>
        </pc:spChg>
        <pc:spChg chg="add mod">
          <ac:chgData name="MALI, NITIN" userId="06417cc5-4498-42e2-bf34-ec2c631f1a01" providerId="ADAL" clId="{1A22E31D-D52D-417D-8EC9-23FE6421A2C4}" dt="2023-05-28T12:14:11.220" v="1905" actId="1076"/>
          <ac:spMkLst>
            <pc:docMk/>
            <pc:sldMk cId="2469419301" sldId="297"/>
            <ac:spMk id="65" creationId="{F5FFD4A8-2024-35F0-F846-0577E2374BD7}"/>
          </ac:spMkLst>
        </pc:spChg>
        <pc:spChg chg="add mod">
          <ac:chgData name="MALI, NITIN" userId="06417cc5-4498-42e2-bf34-ec2c631f1a01" providerId="ADAL" clId="{1A22E31D-D52D-417D-8EC9-23FE6421A2C4}" dt="2023-05-28T12:14:18.471" v="1906" actId="1076"/>
          <ac:spMkLst>
            <pc:docMk/>
            <pc:sldMk cId="2469419301" sldId="297"/>
            <ac:spMk id="66" creationId="{CD2F2BFD-6913-9D23-FA7B-77A4BBB293D5}"/>
          </ac:spMkLst>
        </pc:spChg>
        <pc:spChg chg="add mod">
          <ac:chgData name="MALI, NITIN" userId="06417cc5-4498-42e2-bf34-ec2c631f1a01" providerId="ADAL" clId="{1A22E31D-D52D-417D-8EC9-23FE6421A2C4}" dt="2023-05-28T12:14:30.204" v="1908" actId="1076"/>
          <ac:spMkLst>
            <pc:docMk/>
            <pc:sldMk cId="2469419301" sldId="297"/>
            <ac:spMk id="67" creationId="{956B832C-3AF3-BEFB-6BA0-4705A835CF67}"/>
          </ac:spMkLst>
        </pc:spChg>
        <pc:grpChg chg="del mod">
          <ac:chgData name="MALI, NITIN" userId="06417cc5-4498-42e2-bf34-ec2c631f1a01" providerId="ADAL" clId="{1A22E31D-D52D-417D-8EC9-23FE6421A2C4}" dt="2023-05-28T11:41:08.766" v="1161" actId="478"/>
          <ac:grpSpMkLst>
            <pc:docMk/>
            <pc:sldMk cId="2469419301" sldId="297"/>
            <ac:grpSpMk id="17" creationId="{B67C599F-50FD-458A-9F95-7DC7B844C071}"/>
          </ac:grpSpMkLst>
        </pc:grpChg>
        <pc:grpChg chg="del">
          <ac:chgData name="MALI, NITIN" userId="06417cc5-4498-42e2-bf34-ec2c631f1a01" providerId="ADAL" clId="{1A22E31D-D52D-417D-8EC9-23FE6421A2C4}" dt="2023-05-28T11:41:42.048" v="1171" actId="478"/>
          <ac:grpSpMkLst>
            <pc:docMk/>
            <pc:sldMk cId="2469419301" sldId="297"/>
            <ac:grpSpMk id="21" creationId="{503AC4BB-D06C-4AFC-81DE-A473E3435A41}"/>
          </ac:grpSpMkLst>
        </pc:grpChg>
        <pc:graphicFrameChg chg="del">
          <ac:chgData name="MALI, NITIN" userId="06417cc5-4498-42e2-bf34-ec2c631f1a01" providerId="ADAL" clId="{1A22E31D-D52D-417D-8EC9-23FE6421A2C4}" dt="2023-05-28T11:41:42.048" v="1171" actId="478"/>
          <ac:graphicFrameMkLst>
            <pc:docMk/>
            <pc:sldMk cId="2469419301" sldId="297"/>
            <ac:graphicFrameMk id="33" creationId="{C00765B7-F6AE-475D-8679-DA4F48BCA9C6}"/>
          </ac:graphicFrameMkLst>
        </pc:graphicFrameChg>
        <pc:picChg chg="add mod">
          <ac:chgData name="MALI, NITIN" userId="06417cc5-4498-42e2-bf34-ec2c631f1a01" providerId="ADAL" clId="{1A22E31D-D52D-417D-8EC9-23FE6421A2C4}" dt="2023-05-28T11:48:24.091" v="1348" actId="1076"/>
          <ac:picMkLst>
            <pc:docMk/>
            <pc:sldMk cId="2469419301" sldId="297"/>
            <ac:picMk id="27" creationId="{096EDD22-6FC3-F734-ACC1-469F53346D3D}"/>
          </ac:picMkLst>
        </pc:picChg>
        <pc:picChg chg="del mod">
          <ac:chgData name="MALI, NITIN" userId="06417cc5-4498-42e2-bf34-ec2c631f1a01" providerId="ADAL" clId="{1A22E31D-D52D-417D-8EC9-23FE6421A2C4}" dt="2023-05-28T11:41:15.433" v="1164" actId="478"/>
          <ac:picMkLst>
            <pc:docMk/>
            <pc:sldMk cId="2469419301" sldId="297"/>
            <ac:picMk id="32" creationId="{37AC542B-642B-4853-A7E4-C7B81A38693A}"/>
          </ac:picMkLst>
        </pc:picChg>
        <pc:picChg chg="add mod">
          <ac:chgData name="MALI, NITIN" userId="06417cc5-4498-42e2-bf34-ec2c631f1a01" providerId="ADAL" clId="{1A22E31D-D52D-417D-8EC9-23FE6421A2C4}" dt="2023-05-28T12:15:58.673" v="1919" actId="1037"/>
          <ac:picMkLst>
            <pc:docMk/>
            <pc:sldMk cId="2469419301" sldId="297"/>
            <ac:picMk id="35" creationId="{BF9FA034-6A19-E546-9D1F-49B67AC9B742}"/>
          </ac:picMkLst>
        </pc:picChg>
        <pc:picChg chg="add mod">
          <ac:chgData name="MALI, NITIN" userId="06417cc5-4498-42e2-bf34-ec2c631f1a01" providerId="ADAL" clId="{1A22E31D-D52D-417D-8EC9-23FE6421A2C4}" dt="2023-05-28T12:17:09.754" v="1923" actId="1076"/>
          <ac:picMkLst>
            <pc:docMk/>
            <pc:sldMk cId="2469419301" sldId="297"/>
            <ac:picMk id="37" creationId="{44743E98-7176-7254-09D2-3AAE4F35E0C3}"/>
          </ac:picMkLst>
        </pc:picChg>
        <pc:picChg chg="add mod">
          <ac:chgData name="MALI, NITIN" userId="06417cc5-4498-42e2-bf34-ec2c631f1a01" providerId="ADAL" clId="{1A22E31D-D52D-417D-8EC9-23FE6421A2C4}" dt="2023-05-28T12:17:35.269" v="1932" actId="14100"/>
          <ac:picMkLst>
            <pc:docMk/>
            <pc:sldMk cId="2469419301" sldId="297"/>
            <ac:picMk id="39" creationId="{79A4AF93-9CD2-37B8-84C5-00E4494C5F62}"/>
          </ac:picMkLst>
        </pc:picChg>
        <pc:picChg chg="add mod">
          <ac:chgData name="MALI, NITIN" userId="06417cc5-4498-42e2-bf34-ec2c631f1a01" providerId="ADAL" clId="{1A22E31D-D52D-417D-8EC9-23FE6421A2C4}" dt="2023-05-28T12:17:32.018" v="1931" actId="1076"/>
          <ac:picMkLst>
            <pc:docMk/>
            <pc:sldMk cId="2469419301" sldId="297"/>
            <ac:picMk id="41" creationId="{1A2C314D-D62F-BB90-5800-0FEC238DF338}"/>
          </ac:picMkLst>
        </pc:picChg>
        <pc:picChg chg="add mod">
          <ac:chgData name="MALI, NITIN" userId="06417cc5-4498-42e2-bf34-ec2c631f1a01" providerId="ADAL" clId="{1A22E31D-D52D-417D-8EC9-23FE6421A2C4}" dt="2023-05-28T12:15:47.750" v="1914" actId="1036"/>
          <ac:picMkLst>
            <pc:docMk/>
            <pc:sldMk cId="2469419301" sldId="297"/>
            <ac:picMk id="43" creationId="{2D69684F-CD6B-D974-FFD2-C1682F3A3156}"/>
          </ac:picMkLst>
        </pc:picChg>
        <pc:cxnChg chg="add mod">
          <ac:chgData name="MALI, NITIN" userId="06417cc5-4498-42e2-bf34-ec2c631f1a01" providerId="ADAL" clId="{1A22E31D-D52D-417D-8EC9-23FE6421A2C4}" dt="2023-05-28T12:10:32.353" v="1865" actId="14100"/>
          <ac:cxnSpMkLst>
            <pc:docMk/>
            <pc:sldMk cId="2469419301" sldId="297"/>
            <ac:cxnSpMk id="50" creationId="{D24553BC-CA2B-BE24-D522-BA2D6059CF06}"/>
          </ac:cxnSpMkLst>
        </pc:cxnChg>
        <pc:cxnChg chg="add mod">
          <ac:chgData name="MALI, NITIN" userId="06417cc5-4498-42e2-bf34-ec2c631f1a01" providerId="ADAL" clId="{1A22E31D-D52D-417D-8EC9-23FE6421A2C4}" dt="2023-05-28T12:10:41.512" v="1866" actId="14100"/>
          <ac:cxnSpMkLst>
            <pc:docMk/>
            <pc:sldMk cId="2469419301" sldId="297"/>
            <ac:cxnSpMk id="51" creationId="{C6CBCDD4-5903-6070-6BA0-1AC1DA679012}"/>
          </ac:cxnSpMkLst>
        </pc:cxnChg>
        <pc:cxnChg chg="add mod">
          <ac:chgData name="MALI, NITIN" userId="06417cc5-4498-42e2-bf34-ec2c631f1a01" providerId="ADAL" clId="{1A22E31D-D52D-417D-8EC9-23FE6421A2C4}" dt="2023-05-28T12:11:21.011" v="1870" actId="14100"/>
          <ac:cxnSpMkLst>
            <pc:docMk/>
            <pc:sldMk cId="2469419301" sldId="297"/>
            <ac:cxnSpMk id="52" creationId="{82457034-8FA1-00E1-5E04-17F772C1B7FB}"/>
          </ac:cxnSpMkLst>
        </pc:cxnChg>
        <pc:cxnChg chg="add mod">
          <ac:chgData name="MALI, NITIN" userId="06417cc5-4498-42e2-bf34-ec2c631f1a01" providerId="ADAL" clId="{1A22E31D-D52D-417D-8EC9-23FE6421A2C4}" dt="2023-05-28T12:11:26.842" v="1871" actId="14100"/>
          <ac:cxnSpMkLst>
            <pc:docMk/>
            <pc:sldMk cId="2469419301" sldId="297"/>
            <ac:cxnSpMk id="53" creationId="{1F2F5970-6B15-1BBC-0A45-A805E199960F}"/>
          </ac:cxnSpMkLst>
        </pc:cxnChg>
        <pc:cxnChg chg="add mod">
          <ac:chgData name="MALI, NITIN" userId="06417cc5-4498-42e2-bf34-ec2c631f1a01" providerId="ADAL" clId="{1A22E31D-D52D-417D-8EC9-23FE6421A2C4}" dt="2023-05-28T12:11:53.115" v="1875" actId="14100"/>
          <ac:cxnSpMkLst>
            <pc:docMk/>
            <pc:sldMk cId="2469419301" sldId="297"/>
            <ac:cxnSpMk id="54" creationId="{7A688B14-DCE8-E152-10C7-08B052BF4E92}"/>
          </ac:cxnSpMkLst>
        </pc:cxnChg>
        <pc:cxnChg chg="add mod">
          <ac:chgData name="MALI, NITIN" userId="06417cc5-4498-42e2-bf34-ec2c631f1a01" providerId="ADAL" clId="{1A22E31D-D52D-417D-8EC9-23FE6421A2C4}" dt="2023-05-28T12:12:00.201" v="1876" actId="14100"/>
          <ac:cxnSpMkLst>
            <pc:docMk/>
            <pc:sldMk cId="2469419301" sldId="297"/>
            <ac:cxnSpMk id="55" creationId="{AC0962D0-8A65-9B8D-6C84-0AFA96A5A90A}"/>
          </ac:cxnSpMkLst>
        </pc:cxnChg>
        <pc:cxnChg chg="add mod">
          <ac:chgData name="MALI, NITIN" userId="06417cc5-4498-42e2-bf34-ec2c631f1a01" providerId="ADAL" clId="{1A22E31D-D52D-417D-8EC9-23FE6421A2C4}" dt="2023-05-28T12:12:15.278" v="1878" actId="14100"/>
          <ac:cxnSpMkLst>
            <pc:docMk/>
            <pc:sldMk cId="2469419301" sldId="297"/>
            <ac:cxnSpMk id="56" creationId="{24098C25-BC6B-6C56-C3FD-C52B7254E803}"/>
          </ac:cxnSpMkLst>
        </pc:cxnChg>
        <pc:cxnChg chg="add mod">
          <ac:chgData name="MALI, NITIN" userId="06417cc5-4498-42e2-bf34-ec2c631f1a01" providerId="ADAL" clId="{1A22E31D-D52D-417D-8EC9-23FE6421A2C4}" dt="2023-05-28T12:12:28.135" v="1879" actId="14100"/>
          <ac:cxnSpMkLst>
            <pc:docMk/>
            <pc:sldMk cId="2469419301" sldId="297"/>
            <ac:cxnSpMk id="57" creationId="{F050A8AE-36FF-E004-ED1D-C2BA31C131F4}"/>
          </ac:cxnSpMkLst>
        </pc:cxnChg>
        <pc:cxnChg chg="add mod">
          <ac:chgData name="MALI, NITIN" userId="06417cc5-4498-42e2-bf34-ec2c631f1a01" providerId="ADAL" clId="{1A22E31D-D52D-417D-8EC9-23FE6421A2C4}" dt="2023-05-28T12:12:36.489" v="1881" actId="14100"/>
          <ac:cxnSpMkLst>
            <pc:docMk/>
            <pc:sldMk cId="2469419301" sldId="297"/>
            <ac:cxnSpMk id="58" creationId="{8E791952-3EF3-1382-634F-096D89CCC1F2}"/>
          </ac:cxnSpMkLst>
        </pc:cxnChg>
        <pc:cxnChg chg="add mod">
          <ac:chgData name="MALI, NITIN" userId="06417cc5-4498-42e2-bf34-ec2c631f1a01" providerId="ADAL" clId="{1A22E31D-D52D-417D-8EC9-23FE6421A2C4}" dt="2023-05-28T12:12:40.985" v="1882" actId="14100"/>
          <ac:cxnSpMkLst>
            <pc:docMk/>
            <pc:sldMk cId="2469419301" sldId="297"/>
            <ac:cxnSpMk id="59" creationId="{B8B17A24-1B6F-F7DE-DAD6-081B0884ACE1}"/>
          </ac:cxnSpMkLst>
        </pc:cxnChg>
        <pc:cxnChg chg="add mod">
          <ac:chgData name="MALI, NITIN" userId="06417cc5-4498-42e2-bf34-ec2c631f1a01" providerId="ADAL" clId="{1A22E31D-D52D-417D-8EC9-23FE6421A2C4}" dt="2023-05-28T12:13:06.906" v="1885" actId="14100"/>
          <ac:cxnSpMkLst>
            <pc:docMk/>
            <pc:sldMk cId="2469419301" sldId="297"/>
            <ac:cxnSpMk id="60" creationId="{920AE9A7-0F57-BF88-76B8-6F11CEB93B43}"/>
          </ac:cxnSpMkLst>
        </pc:cxnChg>
        <pc:cxnChg chg="add mod">
          <ac:chgData name="MALI, NITIN" userId="06417cc5-4498-42e2-bf34-ec2c631f1a01" providerId="ADAL" clId="{1A22E31D-D52D-417D-8EC9-23FE6421A2C4}" dt="2023-05-28T12:13:17.373" v="1896" actId="14100"/>
          <ac:cxnSpMkLst>
            <pc:docMk/>
            <pc:sldMk cId="2469419301" sldId="297"/>
            <ac:cxnSpMk id="61" creationId="{55365CCE-1C93-A8E4-FFAB-C8B97A58DD38}"/>
          </ac:cxnSpMkLst>
        </pc:cxnChg>
      </pc:sldChg>
      <pc:sldChg chg="modSp mod">
        <pc:chgData name="MALI, NITIN" userId="06417cc5-4498-42e2-bf34-ec2c631f1a01" providerId="ADAL" clId="{1A22E31D-D52D-417D-8EC9-23FE6421A2C4}" dt="2023-05-28T12:09:48.328" v="1858" actId="20577"/>
        <pc:sldMkLst>
          <pc:docMk/>
          <pc:sldMk cId="2663886759" sldId="1049"/>
        </pc:sldMkLst>
        <pc:spChg chg="mod">
          <ac:chgData name="MALI, NITIN" userId="06417cc5-4498-42e2-bf34-ec2c631f1a01" providerId="ADAL" clId="{1A22E31D-D52D-417D-8EC9-23FE6421A2C4}" dt="2023-05-28T11:24:45.555" v="60" actId="20577"/>
          <ac:spMkLst>
            <pc:docMk/>
            <pc:sldMk cId="2663886759" sldId="1049"/>
            <ac:spMk id="15" creationId="{A6E07DD3-2BF1-49EA-B63F-07B1C122ABF4}"/>
          </ac:spMkLst>
        </pc:spChg>
        <pc:spChg chg="mod">
          <ac:chgData name="MALI, NITIN" userId="06417cc5-4498-42e2-bf34-ec2c631f1a01" providerId="ADAL" clId="{1A22E31D-D52D-417D-8EC9-23FE6421A2C4}" dt="2023-05-28T12:09:48.328" v="1858" actId="20577"/>
          <ac:spMkLst>
            <pc:docMk/>
            <pc:sldMk cId="2663886759" sldId="1049"/>
            <ac:spMk id="16" creationId="{AC257902-7A99-410D-8109-EBAC3E7CDD28}"/>
          </ac:spMkLst>
        </pc:spChg>
      </pc:sldChg>
      <pc:sldChg chg="del">
        <pc:chgData name="MALI, NITIN" userId="06417cc5-4498-42e2-bf34-ec2c631f1a01" providerId="ADAL" clId="{1A22E31D-D52D-417D-8EC9-23FE6421A2C4}" dt="2023-05-28T12:28:06.980" v="1960" actId="47"/>
        <pc:sldMkLst>
          <pc:docMk/>
          <pc:sldMk cId="2895900" sldId="4522"/>
        </pc:sldMkLst>
      </pc:sldChg>
      <pc:sldChg chg="del">
        <pc:chgData name="MALI, NITIN" userId="06417cc5-4498-42e2-bf34-ec2c631f1a01" providerId="ADAL" clId="{1A22E31D-D52D-417D-8EC9-23FE6421A2C4}" dt="2023-05-28T12:28:05.226" v="1959" actId="47"/>
        <pc:sldMkLst>
          <pc:docMk/>
          <pc:sldMk cId="3229175593" sldId="4524"/>
        </pc:sldMkLst>
      </pc:sldChg>
      <pc:sldChg chg="modSp mod">
        <pc:chgData name="MALI, NITIN" userId="06417cc5-4498-42e2-bf34-ec2c631f1a01" providerId="ADAL" clId="{1A22E31D-D52D-417D-8EC9-23FE6421A2C4}" dt="2023-05-28T11:24:19.989" v="36" actId="20577"/>
        <pc:sldMkLst>
          <pc:docMk/>
          <pc:sldMk cId="2101722029" sldId="2145706631"/>
        </pc:sldMkLst>
        <pc:spChg chg="mod">
          <ac:chgData name="MALI, NITIN" userId="06417cc5-4498-42e2-bf34-ec2c631f1a01" providerId="ADAL" clId="{1A22E31D-D52D-417D-8EC9-23FE6421A2C4}" dt="2023-05-28T11:24:19.989" v="36" actId="20577"/>
          <ac:spMkLst>
            <pc:docMk/>
            <pc:sldMk cId="2101722029" sldId="2145706631"/>
            <ac:spMk id="15" creationId="{938C5850-3AD8-4A19-8838-07D7B2D60C2E}"/>
          </ac:spMkLst>
        </pc:spChg>
        <pc:spChg chg="mod">
          <ac:chgData name="MALI, NITIN" userId="06417cc5-4498-42e2-bf34-ec2c631f1a01" providerId="ADAL" clId="{1A22E31D-D52D-417D-8EC9-23FE6421A2C4}" dt="2023-05-28T11:24:12.646" v="31" actId="20577"/>
          <ac:spMkLst>
            <pc:docMk/>
            <pc:sldMk cId="2101722029" sldId="2145706631"/>
            <ac:spMk id="17" creationId="{B094D6DF-A8F8-44AA-8C7C-8FBBE745F5BB}"/>
          </ac:spMkLst>
        </pc:spChg>
      </pc:sldChg>
      <pc:sldChg chg="del">
        <pc:chgData name="MALI, NITIN" userId="06417cc5-4498-42e2-bf34-ec2c631f1a01" providerId="ADAL" clId="{1A22E31D-D52D-417D-8EC9-23FE6421A2C4}" dt="2023-05-28T11:40:15.185" v="1117" actId="47"/>
        <pc:sldMkLst>
          <pc:docMk/>
          <pc:sldMk cId="1849599613" sldId="2145706636"/>
        </pc:sldMkLst>
      </pc:sldChg>
      <pc:sldChg chg="del">
        <pc:chgData name="MALI, NITIN" userId="06417cc5-4498-42e2-bf34-ec2c631f1a01" providerId="ADAL" clId="{1A22E31D-D52D-417D-8EC9-23FE6421A2C4}" dt="2023-05-28T12:27:52.920" v="1956" actId="47"/>
        <pc:sldMkLst>
          <pc:docMk/>
          <pc:sldMk cId="672521312" sldId="2145706637"/>
        </pc:sldMkLst>
      </pc:sldChg>
      <pc:sldChg chg="del">
        <pc:chgData name="MALI, NITIN" userId="06417cc5-4498-42e2-bf34-ec2c631f1a01" providerId="ADAL" clId="{1A22E31D-D52D-417D-8EC9-23FE6421A2C4}" dt="2023-05-28T12:27:54.140" v="1957" actId="47"/>
        <pc:sldMkLst>
          <pc:docMk/>
          <pc:sldMk cId="696910510" sldId="2145706638"/>
        </pc:sldMkLst>
      </pc:sldChg>
      <pc:sldChg chg="del">
        <pc:chgData name="MALI, NITIN" userId="06417cc5-4498-42e2-bf34-ec2c631f1a01" providerId="ADAL" clId="{1A22E31D-D52D-417D-8EC9-23FE6421A2C4}" dt="2023-05-28T12:27:54.678" v="1958" actId="47"/>
        <pc:sldMkLst>
          <pc:docMk/>
          <pc:sldMk cId="3337035351" sldId="2145706639"/>
        </pc:sldMkLst>
      </pc:sldChg>
      <pc:sldChg chg="addSp delSp modSp mod">
        <pc:chgData name="MALI, NITIN" userId="06417cc5-4498-42e2-bf34-ec2c631f1a01" providerId="ADAL" clId="{1A22E31D-D52D-417D-8EC9-23FE6421A2C4}" dt="2023-05-29T06:32:00.855" v="5307" actId="20577"/>
        <pc:sldMkLst>
          <pc:docMk/>
          <pc:sldMk cId="4016547797" sldId="2145706640"/>
        </pc:sldMkLst>
        <pc:spChg chg="mod">
          <ac:chgData name="MALI, NITIN" userId="06417cc5-4498-42e2-bf34-ec2c631f1a01" providerId="ADAL" clId="{1A22E31D-D52D-417D-8EC9-23FE6421A2C4}" dt="2023-05-28T12:39:07.806" v="2058" actId="1076"/>
          <ac:spMkLst>
            <pc:docMk/>
            <pc:sldMk cId="4016547797" sldId="2145706640"/>
            <ac:spMk id="2" creationId="{85007DDD-EC0B-4BFC-85CB-A95CD32747A2}"/>
          </ac:spMkLst>
        </pc:spChg>
        <pc:spChg chg="add mod">
          <ac:chgData name="MALI, NITIN" userId="06417cc5-4498-42e2-bf34-ec2c631f1a01" providerId="ADAL" clId="{1A22E31D-D52D-417D-8EC9-23FE6421A2C4}" dt="2023-05-29T06:32:00.855" v="5307" actId="20577"/>
          <ac:spMkLst>
            <pc:docMk/>
            <pc:sldMk cId="4016547797" sldId="2145706640"/>
            <ac:spMk id="3" creationId="{A5096E98-9DC0-B62F-FE53-2CF60006B544}"/>
          </ac:spMkLst>
        </pc:spChg>
        <pc:spChg chg="add del mod">
          <ac:chgData name="MALI, NITIN" userId="06417cc5-4498-42e2-bf34-ec2c631f1a01" providerId="ADAL" clId="{1A22E31D-D52D-417D-8EC9-23FE6421A2C4}" dt="2023-05-28T12:41:01.207" v="2132" actId="478"/>
          <ac:spMkLst>
            <pc:docMk/>
            <pc:sldMk cId="4016547797" sldId="2145706640"/>
            <ac:spMk id="3" creationId="{B530E768-5FDD-4C16-B2BE-F35873B67856}"/>
          </ac:spMkLst>
        </pc:spChg>
        <pc:spChg chg="del">
          <ac:chgData name="MALI, NITIN" userId="06417cc5-4498-42e2-bf34-ec2c631f1a01" providerId="ADAL" clId="{1A22E31D-D52D-417D-8EC9-23FE6421A2C4}" dt="2023-05-28T12:29:39.311" v="2025" actId="478"/>
          <ac:spMkLst>
            <pc:docMk/>
            <pc:sldMk cId="4016547797" sldId="2145706640"/>
            <ac:spMk id="5" creationId="{D4844F5A-A631-4506-9716-73BE68092F95}"/>
          </ac:spMkLst>
        </pc:spChg>
        <pc:spChg chg="del mod">
          <ac:chgData name="MALI, NITIN" userId="06417cc5-4498-42e2-bf34-ec2c631f1a01" providerId="ADAL" clId="{1A22E31D-D52D-417D-8EC9-23FE6421A2C4}" dt="2023-05-28T12:41:01.207" v="2132" actId="478"/>
          <ac:spMkLst>
            <pc:docMk/>
            <pc:sldMk cId="4016547797" sldId="2145706640"/>
            <ac:spMk id="6" creationId="{9685AEFC-4EA1-4AB2-B7AA-E5525BAA9611}"/>
          </ac:spMkLst>
        </pc:spChg>
        <pc:spChg chg="add del mod">
          <ac:chgData name="MALI, NITIN" userId="06417cc5-4498-42e2-bf34-ec2c631f1a01" providerId="ADAL" clId="{1A22E31D-D52D-417D-8EC9-23FE6421A2C4}" dt="2023-05-28T12:41:01.207" v="2132" actId="478"/>
          <ac:spMkLst>
            <pc:docMk/>
            <pc:sldMk cId="4016547797" sldId="2145706640"/>
            <ac:spMk id="10" creationId="{ADE31657-1F47-40CD-B9F5-3862784C37E1}"/>
          </ac:spMkLst>
        </pc:spChg>
        <pc:spChg chg="add del">
          <ac:chgData name="MALI, NITIN" userId="06417cc5-4498-42e2-bf34-ec2c631f1a01" providerId="ADAL" clId="{1A22E31D-D52D-417D-8EC9-23FE6421A2C4}" dt="2023-05-28T12:41:04.627" v="2133" actId="478"/>
          <ac:spMkLst>
            <pc:docMk/>
            <pc:sldMk cId="4016547797" sldId="2145706640"/>
            <ac:spMk id="11" creationId="{3DE21A9A-1066-4B5A-A9B4-E8BBD8E7DD89}"/>
          </ac:spMkLst>
        </pc:spChg>
        <pc:spChg chg="add del mod">
          <ac:chgData name="MALI, NITIN" userId="06417cc5-4498-42e2-bf34-ec2c631f1a01" providerId="ADAL" clId="{1A22E31D-D52D-417D-8EC9-23FE6421A2C4}" dt="2023-05-28T12:41:01.207" v="2132" actId="478"/>
          <ac:spMkLst>
            <pc:docMk/>
            <pc:sldMk cId="4016547797" sldId="2145706640"/>
            <ac:spMk id="15" creationId="{FD36C724-9E68-4652-8541-FA9267CD6766}"/>
          </ac:spMkLst>
        </pc:spChg>
        <pc:spChg chg="add del mod">
          <ac:chgData name="MALI, NITIN" userId="06417cc5-4498-42e2-bf34-ec2c631f1a01" providerId="ADAL" clId="{1A22E31D-D52D-417D-8EC9-23FE6421A2C4}" dt="2023-05-28T12:41:01.207" v="2132" actId="478"/>
          <ac:spMkLst>
            <pc:docMk/>
            <pc:sldMk cId="4016547797" sldId="2145706640"/>
            <ac:spMk id="16" creationId="{22E06BB2-32A8-4586-88B9-5A04364790D9}"/>
          </ac:spMkLst>
        </pc:spChg>
        <pc:spChg chg="add del">
          <ac:chgData name="MALI, NITIN" userId="06417cc5-4498-42e2-bf34-ec2c631f1a01" providerId="ADAL" clId="{1A22E31D-D52D-417D-8EC9-23FE6421A2C4}" dt="2023-05-28T12:41:01.207" v="2132" actId="478"/>
          <ac:spMkLst>
            <pc:docMk/>
            <pc:sldMk cId="4016547797" sldId="2145706640"/>
            <ac:spMk id="17" creationId="{F7B8DD67-029C-4A3F-8568-492E74C2429A}"/>
          </ac:spMkLst>
        </pc:spChg>
        <pc:spChg chg="add del mod">
          <ac:chgData name="MALI, NITIN" userId="06417cc5-4498-42e2-bf34-ec2c631f1a01" providerId="ADAL" clId="{1A22E31D-D52D-417D-8EC9-23FE6421A2C4}" dt="2023-05-28T12:41:01.207" v="2132" actId="478"/>
          <ac:spMkLst>
            <pc:docMk/>
            <pc:sldMk cId="4016547797" sldId="2145706640"/>
            <ac:spMk id="18" creationId="{25F28932-5AA3-452A-BDF7-B52C9BED3937}"/>
          </ac:spMkLst>
        </pc:spChg>
        <pc:spChg chg="add del mod">
          <ac:chgData name="MALI, NITIN" userId="06417cc5-4498-42e2-bf34-ec2c631f1a01" providerId="ADAL" clId="{1A22E31D-D52D-417D-8EC9-23FE6421A2C4}" dt="2023-05-28T12:41:01.207" v="2132" actId="478"/>
          <ac:spMkLst>
            <pc:docMk/>
            <pc:sldMk cId="4016547797" sldId="2145706640"/>
            <ac:spMk id="19" creationId="{1C232A39-F15E-4E79-B8B9-3C35A29DB087}"/>
          </ac:spMkLst>
        </pc:spChg>
        <pc:spChg chg="add del mod">
          <ac:chgData name="MALI, NITIN" userId="06417cc5-4498-42e2-bf34-ec2c631f1a01" providerId="ADAL" clId="{1A22E31D-D52D-417D-8EC9-23FE6421A2C4}" dt="2023-05-28T12:41:01.207" v="2132" actId="478"/>
          <ac:spMkLst>
            <pc:docMk/>
            <pc:sldMk cId="4016547797" sldId="2145706640"/>
            <ac:spMk id="20" creationId="{D3B53BD2-23CB-46DC-97F8-6057A6004346}"/>
          </ac:spMkLst>
        </pc:spChg>
        <pc:spChg chg="add del">
          <ac:chgData name="MALI, NITIN" userId="06417cc5-4498-42e2-bf34-ec2c631f1a01" providerId="ADAL" clId="{1A22E31D-D52D-417D-8EC9-23FE6421A2C4}" dt="2023-05-28T12:41:01.207" v="2132" actId="478"/>
          <ac:spMkLst>
            <pc:docMk/>
            <pc:sldMk cId="4016547797" sldId="2145706640"/>
            <ac:spMk id="21" creationId="{6D40E347-3970-4F76-AC0F-42D48BF2CB8B}"/>
          </ac:spMkLst>
        </pc:spChg>
        <pc:graphicFrameChg chg="add del mod">
          <ac:chgData name="MALI, NITIN" userId="06417cc5-4498-42e2-bf34-ec2c631f1a01" providerId="ADAL" clId="{1A22E31D-D52D-417D-8EC9-23FE6421A2C4}" dt="2023-05-28T12:39:03.628" v="2057" actId="478"/>
          <ac:graphicFrameMkLst>
            <pc:docMk/>
            <pc:sldMk cId="4016547797" sldId="2145706640"/>
            <ac:graphicFrameMk id="4" creationId="{0144A67D-4590-E0FC-6D96-C071B9371023}"/>
          </ac:graphicFrameMkLst>
        </pc:graphicFrameChg>
        <pc:graphicFrameChg chg="add del mod modGraphic">
          <ac:chgData name="MALI, NITIN" userId="06417cc5-4498-42e2-bf34-ec2c631f1a01" providerId="ADAL" clId="{1A22E31D-D52D-417D-8EC9-23FE6421A2C4}" dt="2023-05-28T12:43:45.576" v="2171" actId="478"/>
          <ac:graphicFrameMkLst>
            <pc:docMk/>
            <pc:sldMk cId="4016547797" sldId="2145706640"/>
            <ac:graphicFrameMk id="7" creationId="{9C38092A-0FB2-FBB2-8E13-15D80AF56046}"/>
          </ac:graphicFrameMkLst>
        </pc:graphicFrameChg>
        <pc:graphicFrameChg chg="del mod modGraphic">
          <ac:chgData name="MALI, NITIN" userId="06417cc5-4498-42e2-bf34-ec2c631f1a01" providerId="ADAL" clId="{1A22E31D-D52D-417D-8EC9-23FE6421A2C4}" dt="2023-05-28T12:39:00.993" v="2056" actId="478"/>
          <ac:graphicFrameMkLst>
            <pc:docMk/>
            <pc:sldMk cId="4016547797" sldId="2145706640"/>
            <ac:graphicFrameMk id="9" creationId="{0D827690-52AD-44C8-892B-301E55F9E2BE}"/>
          </ac:graphicFrameMkLst>
        </pc:graphicFrameChg>
        <pc:graphicFrameChg chg="del">
          <ac:chgData name="MALI, NITIN" userId="06417cc5-4498-42e2-bf34-ec2c631f1a01" providerId="ADAL" clId="{1A22E31D-D52D-417D-8EC9-23FE6421A2C4}" dt="2023-05-28T12:38:20.054" v="2049" actId="478"/>
          <ac:graphicFrameMkLst>
            <pc:docMk/>
            <pc:sldMk cId="4016547797" sldId="2145706640"/>
            <ac:graphicFrameMk id="12" creationId="{7CCE1060-43D6-45F8-8A8F-39937185B10B}"/>
          </ac:graphicFrameMkLst>
        </pc:graphicFrameChg>
        <pc:graphicFrameChg chg="del modGraphic">
          <ac:chgData name="MALI, NITIN" userId="06417cc5-4498-42e2-bf34-ec2c631f1a01" providerId="ADAL" clId="{1A22E31D-D52D-417D-8EC9-23FE6421A2C4}" dt="2023-05-28T12:38:26.318" v="2051" actId="478"/>
          <ac:graphicFrameMkLst>
            <pc:docMk/>
            <pc:sldMk cId="4016547797" sldId="2145706640"/>
            <ac:graphicFrameMk id="13" creationId="{D0A5CF33-6556-4241-81EA-A6720D5F1124}"/>
          </ac:graphicFrameMkLst>
        </pc:graphicFrameChg>
        <pc:graphicFrameChg chg="del">
          <ac:chgData name="MALI, NITIN" userId="06417cc5-4498-42e2-bf34-ec2c631f1a01" providerId="ADAL" clId="{1A22E31D-D52D-417D-8EC9-23FE6421A2C4}" dt="2023-05-28T12:38:28.929" v="2052" actId="478"/>
          <ac:graphicFrameMkLst>
            <pc:docMk/>
            <pc:sldMk cId="4016547797" sldId="2145706640"/>
            <ac:graphicFrameMk id="14" creationId="{38CE5D67-9334-4FB0-96A0-0051D32E1FBB}"/>
          </ac:graphicFrameMkLst>
        </pc:graphicFrameChg>
      </pc:sldChg>
      <pc:sldChg chg="addSp delSp modSp add mod">
        <pc:chgData name="MALI, NITIN" userId="06417cc5-4498-42e2-bf34-ec2c631f1a01" providerId="ADAL" clId="{1A22E31D-D52D-417D-8EC9-23FE6421A2C4}" dt="2023-05-29T06:32:46.979" v="5349" actId="20577"/>
        <pc:sldMkLst>
          <pc:docMk/>
          <pc:sldMk cId="3592056085" sldId="2145706641"/>
        </pc:sldMkLst>
        <pc:spChg chg="mod">
          <ac:chgData name="MALI, NITIN" userId="06417cc5-4498-42e2-bf34-ec2c631f1a01" providerId="ADAL" clId="{1A22E31D-D52D-417D-8EC9-23FE6421A2C4}" dt="2023-05-28T12:43:30.541" v="2169" actId="20577"/>
          <ac:spMkLst>
            <pc:docMk/>
            <pc:sldMk cId="3592056085" sldId="2145706641"/>
            <ac:spMk id="2" creationId="{85007DDD-EC0B-4BFC-85CB-A95CD32747A2}"/>
          </ac:spMkLst>
        </pc:spChg>
        <pc:spChg chg="add mod">
          <ac:chgData name="MALI, NITIN" userId="06417cc5-4498-42e2-bf34-ec2c631f1a01" providerId="ADAL" clId="{1A22E31D-D52D-417D-8EC9-23FE6421A2C4}" dt="2023-05-29T06:32:46.979" v="5349" actId="20577"/>
          <ac:spMkLst>
            <pc:docMk/>
            <pc:sldMk cId="3592056085" sldId="2145706641"/>
            <ac:spMk id="3" creationId="{95E4B9BF-1E44-4EDC-118D-41F15FEE13EA}"/>
          </ac:spMkLst>
        </pc:spChg>
        <pc:graphicFrameChg chg="del">
          <ac:chgData name="MALI, NITIN" userId="06417cc5-4498-42e2-bf34-ec2c631f1a01" providerId="ADAL" clId="{1A22E31D-D52D-417D-8EC9-23FE6421A2C4}" dt="2023-05-28T12:44:43.807" v="2172" actId="478"/>
          <ac:graphicFrameMkLst>
            <pc:docMk/>
            <pc:sldMk cId="3592056085" sldId="2145706641"/>
            <ac:graphicFrameMk id="7" creationId="{9C38092A-0FB2-FBB2-8E13-15D80AF56046}"/>
          </ac:graphicFrameMkLst>
        </pc:graphicFrameChg>
      </pc:sldChg>
      <pc:sldChg chg="addSp delSp modSp add mod modShow">
        <pc:chgData name="MALI, NITIN" userId="06417cc5-4498-42e2-bf34-ec2c631f1a01" providerId="ADAL" clId="{1A22E31D-D52D-417D-8EC9-23FE6421A2C4}" dt="2023-05-29T06:35:27.245" v="5350" actId="729"/>
        <pc:sldMkLst>
          <pc:docMk/>
          <pc:sldMk cId="1040271343" sldId="2145706642"/>
        </pc:sldMkLst>
        <pc:spChg chg="mod">
          <ac:chgData name="MALI, NITIN" userId="06417cc5-4498-42e2-bf34-ec2c631f1a01" providerId="ADAL" clId="{1A22E31D-D52D-417D-8EC9-23FE6421A2C4}" dt="2023-05-28T12:44:58.218" v="2183" actId="20577"/>
          <ac:spMkLst>
            <pc:docMk/>
            <pc:sldMk cId="1040271343" sldId="2145706642"/>
            <ac:spMk id="2" creationId="{85007DDD-EC0B-4BFC-85CB-A95CD32747A2}"/>
          </ac:spMkLst>
        </pc:spChg>
        <pc:spChg chg="add del mod">
          <ac:chgData name="MALI, NITIN" userId="06417cc5-4498-42e2-bf34-ec2c631f1a01" providerId="ADAL" clId="{1A22E31D-D52D-417D-8EC9-23FE6421A2C4}" dt="2023-05-28T14:15:35.136" v="2386" actId="20577"/>
          <ac:spMkLst>
            <pc:docMk/>
            <pc:sldMk cId="1040271343" sldId="2145706642"/>
            <ac:spMk id="3" creationId="{6B727CAA-9D48-C385-B89B-07F9AABFE2C0}"/>
          </ac:spMkLst>
        </pc:spChg>
        <pc:spChg chg="add mod">
          <ac:chgData name="MALI, NITIN" userId="06417cc5-4498-42e2-bf34-ec2c631f1a01" providerId="ADAL" clId="{1A22E31D-D52D-417D-8EC9-23FE6421A2C4}" dt="2023-05-28T14:16:49.826" v="2628" actId="20577"/>
          <ac:spMkLst>
            <pc:docMk/>
            <pc:sldMk cId="1040271343" sldId="2145706642"/>
            <ac:spMk id="4" creationId="{283A0CAD-A0F2-74FD-07B1-078A06E7DC1D}"/>
          </ac:spMkLst>
        </pc:spChg>
        <pc:spChg chg="add mod">
          <ac:chgData name="MALI, NITIN" userId="06417cc5-4498-42e2-bf34-ec2c631f1a01" providerId="ADAL" clId="{1A22E31D-D52D-417D-8EC9-23FE6421A2C4}" dt="2023-05-28T14:16:18.511" v="2525" actId="20577"/>
          <ac:spMkLst>
            <pc:docMk/>
            <pc:sldMk cId="1040271343" sldId="2145706642"/>
            <ac:spMk id="5" creationId="{9996D202-F3D8-C976-2AAF-845DF50D3731}"/>
          </ac:spMkLst>
        </pc:spChg>
        <pc:spChg chg="add mod">
          <ac:chgData name="MALI, NITIN" userId="06417cc5-4498-42e2-bf34-ec2c631f1a01" providerId="ADAL" clId="{1A22E31D-D52D-417D-8EC9-23FE6421A2C4}" dt="2023-05-28T14:17:47.241" v="2814" actId="20577"/>
          <ac:spMkLst>
            <pc:docMk/>
            <pc:sldMk cId="1040271343" sldId="2145706642"/>
            <ac:spMk id="6" creationId="{C8E42550-4B39-2754-607F-73C75C06FBBB}"/>
          </ac:spMkLst>
        </pc:spChg>
        <pc:spChg chg="add mod">
          <ac:chgData name="MALI, NITIN" userId="06417cc5-4498-42e2-bf34-ec2c631f1a01" providerId="ADAL" clId="{1A22E31D-D52D-417D-8EC9-23FE6421A2C4}" dt="2023-05-28T14:18:00.676" v="2815" actId="255"/>
          <ac:spMkLst>
            <pc:docMk/>
            <pc:sldMk cId="1040271343" sldId="2145706642"/>
            <ac:spMk id="7" creationId="{B2CBE537-9D9A-D7AB-CA9D-A0E54AE53DD4}"/>
          </ac:spMkLst>
        </pc:spChg>
        <pc:cxnChg chg="add mod">
          <ac:chgData name="MALI, NITIN" userId="06417cc5-4498-42e2-bf34-ec2c631f1a01" providerId="ADAL" clId="{1A22E31D-D52D-417D-8EC9-23FE6421A2C4}" dt="2023-05-28T14:18:29.152" v="2838" actId="14100"/>
          <ac:cxnSpMkLst>
            <pc:docMk/>
            <pc:sldMk cId="1040271343" sldId="2145706642"/>
            <ac:cxnSpMk id="9" creationId="{460F4943-3766-26DD-011C-1B1666696ECB}"/>
          </ac:cxnSpMkLst>
        </pc:cxnChg>
        <pc:cxnChg chg="add mod">
          <ac:chgData name="MALI, NITIN" userId="06417cc5-4498-42e2-bf34-ec2c631f1a01" providerId="ADAL" clId="{1A22E31D-D52D-417D-8EC9-23FE6421A2C4}" dt="2023-05-28T14:18:39.335" v="2842" actId="14100"/>
          <ac:cxnSpMkLst>
            <pc:docMk/>
            <pc:sldMk cId="1040271343" sldId="2145706642"/>
            <ac:cxnSpMk id="11" creationId="{5A0B5DEA-B0C6-DA50-49C6-97AAD6B44030}"/>
          </ac:cxnSpMkLst>
        </pc:cxnChg>
        <pc:cxnChg chg="add mod">
          <ac:chgData name="MALI, NITIN" userId="06417cc5-4498-42e2-bf34-ec2c631f1a01" providerId="ADAL" clId="{1A22E31D-D52D-417D-8EC9-23FE6421A2C4}" dt="2023-05-28T14:18:48.128" v="2846" actId="14100"/>
          <ac:cxnSpMkLst>
            <pc:docMk/>
            <pc:sldMk cId="1040271343" sldId="2145706642"/>
            <ac:cxnSpMk id="14" creationId="{14018CA1-EA52-C818-9B07-732AEC88585B}"/>
          </ac:cxnSpMkLst>
        </pc:cxnChg>
        <pc:cxnChg chg="add mod">
          <ac:chgData name="MALI, NITIN" userId="06417cc5-4498-42e2-bf34-ec2c631f1a01" providerId="ADAL" clId="{1A22E31D-D52D-417D-8EC9-23FE6421A2C4}" dt="2023-05-28T14:19:00.141" v="2850" actId="14100"/>
          <ac:cxnSpMkLst>
            <pc:docMk/>
            <pc:sldMk cId="1040271343" sldId="2145706642"/>
            <ac:cxnSpMk id="17" creationId="{7F52FCB9-A4FB-3C63-63B6-10518C1B1C47}"/>
          </ac:cxnSpMkLst>
        </pc:cxnChg>
      </pc:sldChg>
      <pc:sldChg chg="addSp delSp modSp add mod modShow">
        <pc:chgData name="MALI, NITIN" userId="06417cc5-4498-42e2-bf34-ec2c631f1a01" providerId="ADAL" clId="{1A22E31D-D52D-417D-8EC9-23FE6421A2C4}" dt="2023-05-29T06:35:33.876" v="5351" actId="729"/>
        <pc:sldMkLst>
          <pc:docMk/>
          <pc:sldMk cId="4026276902" sldId="2145706643"/>
        </pc:sldMkLst>
        <pc:spChg chg="mod">
          <ac:chgData name="MALI, NITIN" userId="06417cc5-4498-42e2-bf34-ec2c631f1a01" providerId="ADAL" clId="{1A22E31D-D52D-417D-8EC9-23FE6421A2C4}" dt="2023-05-28T14:28:31.980" v="3569" actId="20577"/>
          <ac:spMkLst>
            <pc:docMk/>
            <pc:sldMk cId="4026276902" sldId="2145706643"/>
            <ac:spMk id="2" creationId="{85007DDD-EC0B-4BFC-85CB-A95CD32747A2}"/>
          </ac:spMkLst>
        </pc:spChg>
        <pc:spChg chg="del mod">
          <ac:chgData name="MALI, NITIN" userId="06417cc5-4498-42e2-bf34-ec2c631f1a01" providerId="ADAL" clId="{1A22E31D-D52D-417D-8EC9-23FE6421A2C4}" dt="2023-05-28T14:25:30.209" v="3229" actId="478"/>
          <ac:spMkLst>
            <pc:docMk/>
            <pc:sldMk cId="4026276902" sldId="2145706643"/>
            <ac:spMk id="3" creationId="{6B727CAA-9D48-C385-B89B-07F9AABFE2C0}"/>
          </ac:spMkLst>
        </pc:spChg>
        <pc:spChg chg="del mod">
          <ac:chgData name="MALI, NITIN" userId="06417cc5-4498-42e2-bf34-ec2c631f1a01" providerId="ADAL" clId="{1A22E31D-D52D-417D-8EC9-23FE6421A2C4}" dt="2023-05-28T14:25:37.112" v="3232" actId="478"/>
          <ac:spMkLst>
            <pc:docMk/>
            <pc:sldMk cId="4026276902" sldId="2145706643"/>
            <ac:spMk id="4" creationId="{283A0CAD-A0F2-74FD-07B1-078A06E7DC1D}"/>
          </ac:spMkLst>
        </pc:spChg>
        <pc:spChg chg="del mod">
          <ac:chgData name="MALI, NITIN" userId="06417cc5-4498-42e2-bf34-ec2c631f1a01" providerId="ADAL" clId="{1A22E31D-D52D-417D-8EC9-23FE6421A2C4}" dt="2023-05-28T14:25:48.010" v="3236" actId="478"/>
          <ac:spMkLst>
            <pc:docMk/>
            <pc:sldMk cId="4026276902" sldId="2145706643"/>
            <ac:spMk id="5" creationId="{9996D202-F3D8-C976-2AAF-845DF50D3731}"/>
          </ac:spMkLst>
        </pc:spChg>
        <pc:spChg chg="del mod">
          <ac:chgData name="MALI, NITIN" userId="06417cc5-4498-42e2-bf34-ec2c631f1a01" providerId="ADAL" clId="{1A22E31D-D52D-417D-8EC9-23FE6421A2C4}" dt="2023-05-28T14:25:42.398" v="3234" actId="478"/>
          <ac:spMkLst>
            <pc:docMk/>
            <pc:sldMk cId="4026276902" sldId="2145706643"/>
            <ac:spMk id="6" creationId="{C8E42550-4B39-2754-607F-73C75C06FBBB}"/>
          </ac:spMkLst>
        </pc:spChg>
        <pc:spChg chg="del mod">
          <ac:chgData name="MALI, NITIN" userId="06417cc5-4498-42e2-bf34-ec2c631f1a01" providerId="ADAL" clId="{1A22E31D-D52D-417D-8EC9-23FE6421A2C4}" dt="2023-05-28T14:25:32.328" v="3230" actId="478"/>
          <ac:spMkLst>
            <pc:docMk/>
            <pc:sldMk cId="4026276902" sldId="2145706643"/>
            <ac:spMk id="7" creationId="{B2CBE537-9D9A-D7AB-CA9D-A0E54AE53DD4}"/>
          </ac:spMkLst>
        </pc:spChg>
        <pc:graphicFrameChg chg="add mod modGraphic">
          <ac:chgData name="MALI, NITIN" userId="06417cc5-4498-42e2-bf34-ec2c631f1a01" providerId="ADAL" clId="{1A22E31D-D52D-417D-8EC9-23FE6421A2C4}" dt="2023-05-28T14:30:43.369" v="3907" actId="20577"/>
          <ac:graphicFrameMkLst>
            <pc:docMk/>
            <pc:sldMk cId="4026276902" sldId="2145706643"/>
            <ac:graphicFrameMk id="8" creationId="{59951E02-289A-6353-6FCE-0622A70BDDD4}"/>
          </ac:graphicFrameMkLst>
        </pc:graphicFrameChg>
        <pc:cxnChg chg="del">
          <ac:chgData name="MALI, NITIN" userId="06417cc5-4498-42e2-bf34-ec2c631f1a01" providerId="ADAL" clId="{1A22E31D-D52D-417D-8EC9-23FE6421A2C4}" dt="2023-05-28T14:25:48.010" v="3236" actId="478"/>
          <ac:cxnSpMkLst>
            <pc:docMk/>
            <pc:sldMk cId="4026276902" sldId="2145706643"/>
            <ac:cxnSpMk id="9" creationId="{460F4943-3766-26DD-011C-1B1666696ECB}"/>
          </ac:cxnSpMkLst>
        </pc:cxnChg>
        <pc:cxnChg chg="del">
          <ac:chgData name="MALI, NITIN" userId="06417cc5-4498-42e2-bf34-ec2c631f1a01" providerId="ADAL" clId="{1A22E31D-D52D-417D-8EC9-23FE6421A2C4}" dt="2023-05-28T14:25:48.010" v="3236" actId="478"/>
          <ac:cxnSpMkLst>
            <pc:docMk/>
            <pc:sldMk cId="4026276902" sldId="2145706643"/>
            <ac:cxnSpMk id="11" creationId="{5A0B5DEA-B0C6-DA50-49C6-97AAD6B44030}"/>
          </ac:cxnSpMkLst>
        </pc:cxnChg>
        <pc:cxnChg chg="del mod">
          <ac:chgData name="MALI, NITIN" userId="06417cc5-4498-42e2-bf34-ec2c631f1a01" providerId="ADAL" clId="{1A22E31D-D52D-417D-8EC9-23FE6421A2C4}" dt="2023-05-28T14:25:44.045" v="3235" actId="478"/>
          <ac:cxnSpMkLst>
            <pc:docMk/>
            <pc:sldMk cId="4026276902" sldId="2145706643"/>
            <ac:cxnSpMk id="14" creationId="{14018CA1-EA52-C818-9B07-732AEC88585B}"/>
          </ac:cxnSpMkLst>
        </pc:cxnChg>
        <pc:cxnChg chg="del mod">
          <ac:chgData name="MALI, NITIN" userId="06417cc5-4498-42e2-bf34-ec2c631f1a01" providerId="ADAL" clId="{1A22E31D-D52D-417D-8EC9-23FE6421A2C4}" dt="2023-05-28T14:25:50.028" v="3237" actId="478"/>
          <ac:cxnSpMkLst>
            <pc:docMk/>
            <pc:sldMk cId="4026276902" sldId="2145706643"/>
            <ac:cxnSpMk id="17" creationId="{7F52FCB9-A4FB-3C63-63B6-10518C1B1C47}"/>
          </ac:cxnSpMkLst>
        </pc:cxnChg>
      </pc:sldChg>
      <pc:sldChg chg="addSp delSp modSp new mod modShow">
        <pc:chgData name="MALI, NITIN" userId="06417cc5-4498-42e2-bf34-ec2c631f1a01" providerId="ADAL" clId="{1A22E31D-D52D-417D-8EC9-23FE6421A2C4}" dt="2023-05-29T06:35:37.850" v="5352" actId="729"/>
        <pc:sldMkLst>
          <pc:docMk/>
          <pc:sldMk cId="19540248" sldId="2145706644"/>
        </pc:sldMkLst>
        <pc:spChg chg="mod">
          <ac:chgData name="MALI, NITIN" userId="06417cc5-4498-42e2-bf34-ec2c631f1a01" providerId="ADAL" clId="{1A22E31D-D52D-417D-8EC9-23FE6421A2C4}" dt="2023-05-28T14:34:04.999" v="3926" actId="20577"/>
          <ac:spMkLst>
            <pc:docMk/>
            <pc:sldMk cId="19540248" sldId="2145706644"/>
            <ac:spMk id="2" creationId="{A5E64932-8906-8C63-1451-048A932D9EC0}"/>
          </ac:spMkLst>
        </pc:spChg>
        <pc:spChg chg="add mod">
          <ac:chgData name="MALI, NITIN" userId="06417cc5-4498-42e2-bf34-ec2c631f1a01" providerId="ADAL" clId="{1A22E31D-D52D-417D-8EC9-23FE6421A2C4}" dt="2023-05-28T14:35:20.594" v="3949" actId="20577"/>
          <ac:spMkLst>
            <pc:docMk/>
            <pc:sldMk cId="19540248" sldId="2145706644"/>
            <ac:spMk id="3" creationId="{19A5ADB8-B710-500A-4FCA-EEB71F458021}"/>
          </ac:spMkLst>
        </pc:spChg>
        <pc:spChg chg="add mod">
          <ac:chgData name="MALI, NITIN" userId="06417cc5-4498-42e2-bf34-ec2c631f1a01" providerId="ADAL" clId="{1A22E31D-D52D-417D-8EC9-23FE6421A2C4}" dt="2023-05-28T14:35:54.982" v="3995" actId="20577"/>
          <ac:spMkLst>
            <pc:docMk/>
            <pc:sldMk cId="19540248" sldId="2145706644"/>
            <ac:spMk id="4" creationId="{D3849F46-5B86-1A80-3F8E-7B0814AC2088}"/>
          </ac:spMkLst>
        </pc:spChg>
        <pc:spChg chg="add mod">
          <ac:chgData name="MALI, NITIN" userId="06417cc5-4498-42e2-bf34-ec2c631f1a01" providerId="ADAL" clId="{1A22E31D-D52D-417D-8EC9-23FE6421A2C4}" dt="2023-05-28T14:36:10.482" v="4019" actId="20577"/>
          <ac:spMkLst>
            <pc:docMk/>
            <pc:sldMk cId="19540248" sldId="2145706644"/>
            <ac:spMk id="5" creationId="{6BDC3DB3-CD91-1D4C-EF81-5F8853ACD80F}"/>
          </ac:spMkLst>
        </pc:spChg>
        <pc:spChg chg="add mod">
          <ac:chgData name="MALI, NITIN" userId="06417cc5-4498-42e2-bf34-ec2c631f1a01" providerId="ADAL" clId="{1A22E31D-D52D-417D-8EC9-23FE6421A2C4}" dt="2023-05-28T15:02:35.560" v="4300" actId="14100"/>
          <ac:spMkLst>
            <pc:docMk/>
            <pc:sldMk cId="19540248" sldId="2145706644"/>
            <ac:spMk id="9" creationId="{F528E29E-FABE-CCE3-1076-3705667D01E0}"/>
          </ac:spMkLst>
        </pc:spChg>
        <pc:spChg chg="add mod">
          <ac:chgData name="MALI, NITIN" userId="06417cc5-4498-42e2-bf34-ec2c631f1a01" providerId="ADAL" clId="{1A22E31D-D52D-417D-8EC9-23FE6421A2C4}" dt="2023-05-28T15:02:42.942" v="4301" actId="14100"/>
          <ac:spMkLst>
            <pc:docMk/>
            <pc:sldMk cId="19540248" sldId="2145706644"/>
            <ac:spMk id="10" creationId="{083DF863-B679-2579-683C-4DB68FA5BCC2}"/>
          </ac:spMkLst>
        </pc:spChg>
        <pc:spChg chg="add mod">
          <ac:chgData name="MALI, NITIN" userId="06417cc5-4498-42e2-bf34-ec2c631f1a01" providerId="ADAL" clId="{1A22E31D-D52D-417D-8EC9-23FE6421A2C4}" dt="2023-05-28T15:02:52.041" v="4303" actId="14100"/>
          <ac:spMkLst>
            <pc:docMk/>
            <pc:sldMk cId="19540248" sldId="2145706644"/>
            <ac:spMk id="11" creationId="{1B3A3330-08FD-16E1-88B2-87B3718FE12E}"/>
          </ac:spMkLst>
        </pc:spChg>
        <pc:spChg chg="add mod">
          <ac:chgData name="MALI, NITIN" userId="06417cc5-4498-42e2-bf34-ec2c631f1a01" providerId="ADAL" clId="{1A22E31D-D52D-417D-8EC9-23FE6421A2C4}" dt="2023-05-28T15:07:04.352" v="4306" actId="14100"/>
          <ac:spMkLst>
            <pc:docMk/>
            <pc:sldMk cId="19540248" sldId="2145706644"/>
            <ac:spMk id="12" creationId="{3A6082E1-566E-044B-EDB8-A06AD7CB765F}"/>
          </ac:spMkLst>
        </pc:spChg>
        <pc:spChg chg="add mod">
          <ac:chgData name="MALI, NITIN" userId="06417cc5-4498-42e2-bf34-ec2c631f1a01" providerId="ADAL" clId="{1A22E31D-D52D-417D-8EC9-23FE6421A2C4}" dt="2023-05-28T15:07:29.018" v="4309" actId="14100"/>
          <ac:spMkLst>
            <pc:docMk/>
            <pc:sldMk cId="19540248" sldId="2145706644"/>
            <ac:spMk id="19" creationId="{B53CEB1B-6155-CCB3-4A3B-0CB9D9713C0D}"/>
          </ac:spMkLst>
        </pc:spChg>
        <pc:spChg chg="add del">
          <ac:chgData name="MALI, NITIN" userId="06417cc5-4498-42e2-bf34-ec2c631f1a01" providerId="ADAL" clId="{1A22E31D-D52D-417D-8EC9-23FE6421A2C4}" dt="2023-05-28T14:50:36.443" v="4288" actId="11529"/>
          <ac:spMkLst>
            <pc:docMk/>
            <pc:sldMk cId="19540248" sldId="2145706644"/>
            <ac:spMk id="27" creationId="{A810997A-203E-D9EA-E81B-BE29231CAA11}"/>
          </ac:spMkLst>
        </pc:spChg>
        <pc:spChg chg="add mod">
          <ac:chgData name="MALI, NITIN" userId="06417cc5-4498-42e2-bf34-ec2c631f1a01" providerId="ADAL" clId="{1A22E31D-D52D-417D-8EC9-23FE6421A2C4}" dt="2023-05-28T15:14:37.971" v="4578" actId="14100"/>
          <ac:spMkLst>
            <pc:docMk/>
            <pc:sldMk cId="19540248" sldId="2145706644"/>
            <ac:spMk id="28" creationId="{48B7330D-7E44-537F-3D30-BF71A2126C1C}"/>
          </ac:spMkLst>
        </pc:spChg>
        <pc:spChg chg="add del">
          <ac:chgData name="MALI, NITIN" userId="06417cc5-4498-42e2-bf34-ec2c631f1a01" providerId="ADAL" clId="{1A22E31D-D52D-417D-8EC9-23FE6421A2C4}" dt="2023-05-28T15:10:10.192" v="4377" actId="11529"/>
          <ac:spMkLst>
            <pc:docMk/>
            <pc:sldMk cId="19540248" sldId="2145706644"/>
            <ac:spMk id="29" creationId="{6D492544-C8E8-E32D-B3E6-6E5B22EEBA53}"/>
          </ac:spMkLst>
        </pc:spChg>
        <pc:spChg chg="add del mod">
          <ac:chgData name="MALI, NITIN" userId="06417cc5-4498-42e2-bf34-ec2c631f1a01" providerId="ADAL" clId="{1A22E31D-D52D-417D-8EC9-23FE6421A2C4}" dt="2023-05-28T15:10:17.848" v="4379" actId="767"/>
          <ac:spMkLst>
            <pc:docMk/>
            <pc:sldMk cId="19540248" sldId="2145706644"/>
            <ac:spMk id="30" creationId="{7B5B7F79-16F4-F60C-C9A0-90B149CFBFB8}"/>
          </ac:spMkLst>
        </pc:spChg>
        <pc:spChg chg="add mod">
          <ac:chgData name="MALI, NITIN" userId="06417cc5-4498-42e2-bf34-ec2c631f1a01" providerId="ADAL" clId="{1A22E31D-D52D-417D-8EC9-23FE6421A2C4}" dt="2023-05-28T15:12:21.891" v="4495" actId="207"/>
          <ac:spMkLst>
            <pc:docMk/>
            <pc:sldMk cId="19540248" sldId="2145706644"/>
            <ac:spMk id="31" creationId="{2B8F0907-4822-E7E0-100E-C14F8EF0F500}"/>
          </ac:spMkLst>
        </pc:spChg>
        <pc:spChg chg="add mod">
          <ac:chgData name="MALI, NITIN" userId="06417cc5-4498-42e2-bf34-ec2c631f1a01" providerId="ADAL" clId="{1A22E31D-D52D-417D-8EC9-23FE6421A2C4}" dt="2023-05-28T15:12:58.329" v="4505" actId="20577"/>
          <ac:spMkLst>
            <pc:docMk/>
            <pc:sldMk cId="19540248" sldId="2145706644"/>
            <ac:spMk id="32" creationId="{08CC1C9F-D5DC-52BB-24B2-F1B90BDF7F06}"/>
          </ac:spMkLst>
        </pc:spChg>
        <pc:spChg chg="add mod">
          <ac:chgData name="MALI, NITIN" userId="06417cc5-4498-42e2-bf34-ec2c631f1a01" providerId="ADAL" clId="{1A22E31D-D52D-417D-8EC9-23FE6421A2C4}" dt="2023-05-28T15:13:12.481" v="4521" actId="20577"/>
          <ac:spMkLst>
            <pc:docMk/>
            <pc:sldMk cId="19540248" sldId="2145706644"/>
            <ac:spMk id="33" creationId="{853E18FA-F636-D1DD-945C-AE4AD60CB12B}"/>
          </ac:spMkLst>
        </pc:spChg>
        <pc:spChg chg="add mod">
          <ac:chgData name="MALI, NITIN" userId="06417cc5-4498-42e2-bf34-ec2c631f1a01" providerId="ADAL" clId="{1A22E31D-D52D-417D-8EC9-23FE6421A2C4}" dt="2023-05-28T15:13:37.988" v="4545" actId="20577"/>
          <ac:spMkLst>
            <pc:docMk/>
            <pc:sldMk cId="19540248" sldId="2145706644"/>
            <ac:spMk id="34" creationId="{6373237D-E970-1106-69BC-A65EFFFB7342}"/>
          </ac:spMkLst>
        </pc:spChg>
        <pc:spChg chg="add mod">
          <ac:chgData name="MALI, NITIN" userId="06417cc5-4498-42e2-bf34-ec2c631f1a01" providerId="ADAL" clId="{1A22E31D-D52D-417D-8EC9-23FE6421A2C4}" dt="2023-05-28T15:13:55.352" v="4564" actId="20577"/>
          <ac:spMkLst>
            <pc:docMk/>
            <pc:sldMk cId="19540248" sldId="2145706644"/>
            <ac:spMk id="35" creationId="{A756FFB8-E1EA-9A8B-EEBE-E7A0103385A1}"/>
          </ac:spMkLst>
        </pc:spChg>
        <pc:spChg chg="add mod">
          <ac:chgData name="MALI, NITIN" userId="06417cc5-4498-42e2-bf34-ec2c631f1a01" providerId="ADAL" clId="{1A22E31D-D52D-417D-8EC9-23FE6421A2C4}" dt="2023-05-28T15:15:59.292" v="4687" actId="313"/>
          <ac:spMkLst>
            <pc:docMk/>
            <pc:sldMk cId="19540248" sldId="2145706644"/>
            <ac:spMk id="36" creationId="{5698E437-6751-3839-89CF-6DA3A4644483}"/>
          </ac:spMkLst>
        </pc:spChg>
        <pc:graphicFrameChg chg="add del modGraphic">
          <ac:chgData name="MALI, NITIN" userId="06417cc5-4498-42e2-bf34-ec2c631f1a01" providerId="ADAL" clId="{1A22E31D-D52D-417D-8EC9-23FE6421A2C4}" dt="2023-05-28T14:48:21.286" v="4284" actId="1032"/>
          <ac:graphicFrameMkLst>
            <pc:docMk/>
            <pc:sldMk cId="19540248" sldId="2145706644"/>
            <ac:graphicFrameMk id="24" creationId="{A6E55C89-271D-9EB3-3ABE-EEAFE3CE77D5}"/>
          </ac:graphicFrameMkLst>
        </pc:graphicFrameChg>
        <pc:picChg chg="add mod">
          <ac:chgData name="MALI, NITIN" userId="06417cc5-4498-42e2-bf34-ec2c631f1a01" providerId="ADAL" clId="{1A22E31D-D52D-417D-8EC9-23FE6421A2C4}" dt="2023-05-28T14:38:59.171" v="4113" actId="1076"/>
          <ac:picMkLst>
            <pc:docMk/>
            <pc:sldMk cId="19540248" sldId="2145706644"/>
            <ac:picMk id="14" creationId="{359495EA-2E6D-213D-294B-1CAEC614B016}"/>
          </ac:picMkLst>
        </pc:picChg>
        <pc:picChg chg="add mod">
          <ac:chgData name="MALI, NITIN" userId="06417cc5-4498-42e2-bf34-ec2c631f1a01" providerId="ADAL" clId="{1A22E31D-D52D-417D-8EC9-23FE6421A2C4}" dt="2023-05-28T14:44:47.031" v="4231" actId="1076"/>
          <ac:picMkLst>
            <pc:docMk/>
            <pc:sldMk cId="19540248" sldId="2145706644"/>
            <ac:picMk id="16" creationId="{BB50BB5E-A3CA-C44B-B5EE-4822DFF08702}"/>
          </ac:picMkLst>
        </pc:picChg>
        <pc:picChg chg="add mod">
          <ac:chgData name="MALI, NITIN" userId="06417cc5-4498-42e2-bf34-ec2c631f1a01" providerId="ADAL" clId="{1A22E31D-D52D-417D-8EC9-23FE6421A2C4}" dt="2023-05-28T14:44:56.420" v="4236" actId="1076"/>
          <ac:picMkLst>
            <pc:docMk/>
            <pc:sldMk cId="19540248" sldId="2145706644"/>
            <ac:picMk id="18" creationId="{7A9416E7-B084-6FB7-1A8A-6B8D43C9D08A}"/>
          </ac:picMkLst>
        </pc:picChg>
        <pc:picChg chg="add mod">
          <ac:chgData name="MALI, NITIN" userId="06417cc5-4498-42e2-bf34-ec2c631f1a01" providerId="ADAL" clId="{1A22E31D-D52D-417D-8EC9-23FE6421A2C4}" dt="2023-05-28T14:46:44.228" v="4280" actId="1076"/>
          <ac:picMkLst>
            <pc:docMk/>
            <pc:sldMk cId="19540248" sldId="2145706644"/>
            <ac:picMk id="21" creationId="{508B0D80-B84F-180C-3808-5B7C40864A5F}"/>
          </ac:picMkLst>
        </pc:picChg>
        <pc:picChg chg="add del mod">
          <ac:chgData name="MALI, NITIN" userId="06417cc5-4498-42e2-bf34-ec2c631f1a01" providerId="ADAL" clId="{1A22E31D-D52D-417D-8EC9-23FE6421A2C4}" dt="2023-05-28T14:47:45.001" v="4282" actId="931"/>
          <ac:picMkLst>
            <pc:docMk/>
            <pc:sldMk cId="19540248" sldId="2145706644"/>
            <ac:picMk id="23" creationId="{7F8FB1E3-82BB-4D29-B385-86E09897B715}"/>
          </ac:picMkLst>
        </pc:picChg>
        <pc:picChg chg="add mod">
          <ac:chgData name="MALI, NITIN" userId="06417cc5-4498-42e2-bf34-ec2c631f1a01" providerId="ADAL" clId="{1A22E31D-D52D-417D-8EC9-23FE6421A2C4}" dt="2023-05-28T15:07:33.051" v="4310" actId="1076"/>
          <ac:picMkLst>
            <pc:docMk/>
            <pc:sldMk cId="19540248" sldId="2145706644"/>
            <ac:picMk id="26" creationId="{612EBED5-C020-0100-216F-571FC6210223}"/>
          </ac:picMkLst>
        </pc:picChg>
        <pc:cxnChg chg="add del">
          <ac:chgData name="MALI, NITIN" userId="06417cc5-4498-42e2-bf34-ec2c631f1a01" providerId="ADAL" clId="{1A22E31D-D52D-417D-8EC9-23FE6421A2C4}" dt="2023-05-28T14:36:32.950" v="4025" actId="11529"/>
          <ac:cxnSpMkLst>
            <pc:docMk/>
            <pc:sldMk cId="19540248" sldId="2145706644"/>
            <ac:cxnSpMk id="7" creationId="{6DBABAB5-71A6-C28C-79EE-9F37A9BB7A85}"/>
          </ac:cxnSpMkLst>
        </pc:cxnChg>
        <pc:cxnChg chg="add del mod">
          <ac:chgData name="MALI, NITIN" userId="06417cc5-4498-42e2-bf34-ec2c631f1a01" providerId="ADAL" clId="{1A22E31D-D52D-417D-8EC9-23FE6421A2C4}" dt="2023-05-28T14:36:32.607" v="4024"/>
          <ac:cxnSpMkLst>
            <pc:docMk/>
            <pc:sldMk cId="19540248" sldId="2145706644"/>
            <ac:cxnSpMk id="8" creationId="{07EA9FDF-42E5-645A-E40B-668EF8B309C0}"/>
          </ac:cxnSpMkLst>
        </pc:cxnChg>
      </pc:sldChg>
      <pc:sldChg chg="modSp add mod">
        <pc:chgData name="MALI, NITIN" userId="06417cc5-4498-42e2-bf34-ec2c631f1a01" providerId="ADAL" clId="{1A22E31D-D52D-417D-8EC9-23FE6421A2C4}" dt="2023-05-29T06:38:22.783" v="5477" actId="20577"/>
        <pc:sldMkLst>
          <pc:docMk/>
          <pc:sldMk cId="378983587" sldId="2145706645"/>
        </pc:sldMkLst>
        <pc:spChg chg="mod">
          <ac:chgData name="MALI, NITIN" userId="06417cc5-4498-42e2-bf34-ec2c631f1a01" providerId="ADAL" clId="{1A22E31D-D52D-417D-8EC9-23FE6421A2C4}" dt="2023-05-29T06:36:23.547" v="5365" actId="20577"/>
          <ac:spMkLst>
            <pc:docMk/>
            <pc:sldMk cId="378983587" sldId="2145706645"/>
            <ac:spMk id="2" creationId="{85007DDD-EC0B-4BFC-85CB-A95CD32747A2}"/>
          </ac:spMkLst>
        </pc:spChg>
        <pc:spChg chg="mod">
          <ac:chgData name="MALI, NITIN" userId="06417cc5-4498-42e2-bf34-ec2c631f1a01" providerId="ADAL" clId="{1A22E31D-D52D-417D-8EC9-23FE6421A2C4}" dt="2023-05-29T06:38:22.783" v="5477" actId="20577"/>
          <ac:spMkLst>
            <pc:docMk/>
            <pc:sldMk cId="378983587" sldId="2145706645"/>
            <ac:spMk id="3" creationId="{95E4B9BF-1E44-4EDC-118D-41F15FEE13EA}"/>
          </ac:spMkLst>
        </pc:spChg>
      </pc:sldChg>
      <pc:sldMasterChg chg="delSldLayout">
        <pc:chgData name="MALI, NITIN" userId="06417cc5-4498-42e2-bf34-ec2c631f1a01" providerId="ADAL" clId="{1A22E31D-D52D-417D-8EC9-23FE6421A2C4}" dt="2023-05-28T12:28:06.980" v="1960" actId="47"/>
        <pc:sldMasterMkLst>
          <pc:docMk/>
          <pc:sldMasterMk cId="3148905397" sldId="2147483899"/>
        </pc:sldMasterMkLst>
        <pc:sldLayoutChg chg="del">
          <pc:chgData name="MALI, NITIN" userId="06417cc5-4498-42e2-bf34-ec2c631f1a01" providerId="ADAL" clId="{1A22E31D-D52D-417D-8EC9-23FE6421A2C4}" dt="2023-05-28T11:40:15.185" v="1117" actId="47"/>
          <pc:sldLayoutMkLst>
            <pc:docMk/>
            <pc:sldMasterMk cId="3148905397" sldId="2147483899"/>
            <pc:sldLayoutMk cId="308423674" sldId="2147483971"/>
          </pc:sldLayoutMkLst>
        </pc:sldLayoutChg>
        <pc:sldLayoutChg chg="del">
          <pc:chgData name="MALI, NITIN" userId="06417cc5-4498-42e2-bf34-ec2c631f1a01" providerId="ADAL" clId="{1A22E31D-D52D-417D-8EC9-23FE6421A2C4}" dt="2023-05-28T12:28:06.980" v="1960" actId="47"/>
          <pc:sldLayoutMkLst>
            <pc:docMk/>
            <pc:sldMasterMk cId="3148905397" sldId="2147483899"/>
            <pc:sldLayoutMk cId="3321453367" sldId="2147483973"/>
          </pc:sldLayoutMkLst>
        </pc:sldLayoutChg>
      </pc:sldMasterChg>
    </pc:docChg>
  </pc:docChgLst>
  <pc:docChgLst>
    <pc:chgData name="MALI, NITIN" userId="S::nitin.mali@capgemini.com::06417cc5-4498-42e2-bf34-ec2c631f1a01" providerId="AD" clId="Web-{36B5EE4D-20C4-4036-AD40-AC6032778B16}"/>
    <pc:docChg chg="delSld">
      <pc:chgData name="MALI, NITIN" userId="S::nitin.mali@capgemini.com::06417cc5-4498-42e2-bf34-ec2c631f1a01" providerId="AD" clId="Web-{36B5EE4D-20C4-4036-AD40-AC6032778B16}" dt="2023-11-07T07:32:58.821" v="0"/>
      <pc:docMkLst>
        <pc:docMk/>
      </pc:docMkLst>
      <pc:sldChg chg="del">
        <pc:chgData name="MALI, NITIN" userId="S::nitin.mali@capgemini.com::06417cc5-4498-42e2-bf34-ec2c631f1a01" providerId="AD" clId="Web-{36B5EE4D-20C4-4036-AD40-AC6032778B16}" dt="2023-11-07T07:32:58.821" v="0"/>
        <pc:sldMkLst>
          <pc:docMk/>
          <pc:sldMk cId="2663886759" sldId="1049"/>
        </pc:sldMkLst>
      </pc:sldChg>
    </pc:docChg>
  </pc:docChgLst>
  <pc:docChgLst>
    <pc:chgData name="MALI, NITIN" userId="S::nitin.mali@capgemini.com::06417cc5-4498-42e2-bf34-ec2c631f1a01" providerId="AD" clId="Web-{BE24EA3C-8263-48F4-A8FD-7066EF5CC03F}"/>
    <pc:docChg chg="addSld delSld modSld">
      <pc:chgData name="MALI, NITIN" userId="S::nitin.mali@capgemini.com::06417cc5-4498-42e2-bf34-ec2c631f1a01" providerId="AD" clId="Web-{BE24EA3C-8263-48F4-A8FD-7066EF5CC03F}" dt="2023-12-07T06:26:57.380" v="75" actId="14100"/>
      <pc:docMkLst>
        <pc:docMk/>
      </pc:docMkLst>
      <pc:sldChg chg="modSp add">
        <pc:chgData name="MALI, NITIN" userId="S::nitin.mali@capgemini.com::06417cc5-4498-42e2-bf34-ec2c631f1a01" providerId="AD" clId="Web-{BE24EA3C-8263-48F4-A8FD-7066EF5CC03F}" dt="2023-12-07T06:26:57.380" v="75" actId="14100"/>
        <pc:sldMkLst>
          <pc:docMk/>
          <pc:sldMk cId="1663553620" sldId="423"/>
        </pc:sldMkLst>
        <pc:spChg chg="mod">
          <ac:chgData name="MALI, NITIN" userId="S::nitin.mali@capgemini.com::06417cc5-4498-42e2-bf34-ec2c631f1a01" providerId="AD" clId="Web-{BE24EA3C-8263-48F4-A8FD-7066EF5CC03F}" dt="2023-12-07T06:26:44.551" v="71" actId="14100"/>
          <ac:spMkLst>
            <pc:docMk/>
            <pc:sldMk cId="1663553620" sldId="423"/>
            <ac:spMk id="5" creationId="{FF85A71F-0504-5E9D-1D51-323C645B7D4B}"/>
          </ac:spMkLst>
        </pc:spChg>
        <pc:spChg chg="mod">
          <ac:chgData name="MALI, NITIN" userId="S::nitin.mali@capgemini.com::06417cc5-4498-42e2-bf34-ec2c631f1a01" providerId="AD" clId="Web-{BE24EA3C-8263-48F4-A8FD-7066EF5CC03F}" dt="2023-12-07T06:25:38.547" v="54" actId="14100"/>
          <ac:spMkLst>
            <pc:docMk/>
            <pc:sldMk cId="1663553620" sldId="423"/>
            <ac:spMk id="11" creationId="{4CD021F5-CF6D-17BE-891A-23910329F33A}"/>
          </ac:spMkLst>
        </pc:spChg>
        <pc:spChg chg="mod">
          <ac:chgData name="MALI, NITIN" userId="S::nitin.mali@capgemini.com::06417cc5-4498-42e2-bf34-ec2c631f1a01" providerId="AD" clId="Web-{BE24EA3C-8263-48F4-A8FD-7066EF5CC03F}" dt="2023-12-07T06:26:28.941" v="66" actId="1076"/>
          <ac:spMkLst>
            <pc:docMk/>
            <pc:sldMk cId="1663553620" sldId="423"/>
            <ac:spMk id="19" creationId="{B47D22EE-655F-DC92-1C0D-962DE9476AB4}"/>
          </ac:spMkLst>
        </pc:spChg>
        <pc:spChg chg="mod">
          <ac:chgData name="MALI, NITIN" userId="S::nitin.mali@capgemini.com::06417cc5-4498-42e2-bf34-ec2c631f1a01" providerId="AD" clId="Web-{BE24EA3C-8263-48F4-A8FD-7066EF5CC03F}" dt="2023-12-07T06:26:47.098" v="72" actId="14100"/>
          <ac:spMkLst>
            <pc:docMk/>
            <pc:sldMk cId="1663553620" sldId="423"/>
            <ac:spMk id="23" creationId="{FCDF9818-B94B-0B5B-63AC-D0FB06E68E69}"/>
          </ac:spMkLst>
        </pc:spChg>
        <pc:grpChg chg="mod">
          <ac:chgData name="MALI, NITIN" userId="S::nitin.mali@capgemini.com::06417cc5-4498-42e2-bf34-ec2c631f1a01" providerId="AD" clId="Web-{BE24EA3C-8263-48F4-A8FD-7066EF5CC03F}" dt="2023-12-07T06:25:45.813" v="55" actId="14100"/>
          <ac:grpSpMkLst>
            <pc:docMk/>
            <pc:sldMk cId="1663553620" sldId="423"/>
            <ac:grpSpMk id="6" creationId="{510A3C41-EC29-004D-FC8E-BD3F98111467}"/>
          </ac:grpSpMkLst>
        </pc:grpChg>
        <pc:picChg chg="mod">
          <ac:chgData name="MALI, NITIN" userId="S::nitin.mali@capgemini.com::06417cc5-4498-42e2-bf34-ec2c631f1a01" providerId="AD" clId="Web-{BE24EA3C-8263-48F4-A8FD-7066EF5CC03F}" dt="2023-12-07T06:26:57.380" v="75" actId="14100"/>
          <ac:picMkLst>
            <pc:docMk/>
            <pc:sldMk cId="1663553620" sldId="423"/>
            <ac:picMk id="2052" creationId="{79CD2D8A-0DC3-C8DB-88BC-BFF319A2823B}"/>
          </ac:picMkLst>
        </pc:picChg>
        <pc:picChg chg="mod">
          <ac:chgData name="MALI, NITIN" userId="S::nitin.mali@capgemini.com::06417cc5-4498-42e2-bf34-ec2c631f1a01" providerId="AD" clId="Web-{BE24EA3C-8263-48F4-A8FD-7066EF5CC03F}" dt="2023-12-07T06:26:54.771" v="74" actId="14100"/>
          <ac:picMkLst>
            <pc:docMk/>
            <pc:sldMk cId="1663553620" sldId="423"/>
            <ac:picMk id="2058" creationId="{76B3C202-F788-FE35-EE4F-B33DD6576AC0}"/>
          </ac:picMkLst>
        </pc:picChg>
        <pc:cxnChg chg="mod">
          <ac:chgData name="MALI, NITIN" userId="S::nitin.mali@capgemini.com::06417cc5-4498-42e2-bf34-ec2c631f1a01" providerId="AD" clId="Web-{BE24EA3C-8263-48F4-A8FD-7066EF5CC03F}" dt="2023-12-07T06:25:32.140" v="53" actId="14100"/>
          <ac:cxnSpMkLst>
            <pc:docMk/>
            <pc:sldMk cId="1663553620" sldId="423"/>
            <ac:cxnSpMk id="13" creationId="{DACFDA79-14C1-59B3-F699-54D17135D390}"/>
          </ac:cxnSpMkLst>
        </pc:cxnChg>
        <pc:cxnChg chg="mod">
          <ac:chgData name="MALI, NITIN" userId="S::nitin.mali@capgemini.com::06417cc5-4498-42e2-bf34-ec2c631f1a01" providerId="AD" clId="Web-{BE24EA3C-8263-48F4-A8FD-7066EF5CC03F}" dt="2023-12-07T06:26:14.112" v="61" actId="14100"/>
          <ac:cxnSpMkLst>
            <pc:docMk/>
            <pc:sldMk cId="1663553620" sldId="423"/>
            <ac:cxnSpMk id="20" creationId="{6EA7F323-52F4-501E-3391-D9445A3CE08D}"/>
          </ac:cxnSpMkLst>
        </pc:cxnChg>
      </pc:sldChg>
      <pc:sldChg chg="addSp delSp modSp">
        <pc:chgData name="MALI, NITIN" userId="S::nitin.mali@capgemini.com::06417cc5-4498-42e2-bf34-ec2c631f1a01" providerId="AD" clId="Web-{BE24EA3C-8263-48F4-A8FD-7066EF5CC03F}" dt="2023-12-07T06:22:16.737" v="22" actId="14100"/>
        <pc:sldMkLst>
          <pc:docMk/>
          <pc:sldMk cId="3595769667" sldId="2145706648"/>
        </pc:sldMkLst>
        <pc:spChg chg="mod">
          <ac:chgData name="MALI, NITIN" userId="S::nitin.mali@capgemini.com::06417cc5-4498-42e2-bf34-ec2c631f1a01" providerId="AD" clId="Web-{BE24EA3C-8263-48F4-A8FD-7066EF5CC03F}" dt="2023-12-07T06:21:01.029" v="7"/>
          <ac:spMkLst>
            <pc:docMk/>
            <pc:sldMk cId="3595769667" sldId="2145706648"/>
            <ac:spMk id="2" creationId="{2A13C6FB-C07D-FA14-C500-BC4C28BEB74E}"/>
          </ac:spMkLst>
        </pc:spChg>
        <pc:picChg chg="add del mod">
          <ac:chgData name="MALI, NITIN" userId="S::nitin.mali@capgemini.com::06417cc5-4498-42e2-bf34-ec2c631f1a01" providerId="AD" clId="Web-{BE24EA3C-8263-48F4-A8FD-7066EF5CC03F}" dt="2023-12-07T06:21:52.829" v="18"/>
          <ac:picMkLst>
            <pc:docMk/>
            <pc:sldMk cId="3595769667" sldId="2145706648"/>
            <ac:picMk id="3" creationId="{A69779BE-6516-5EEE-4E30-A2CAAAC0D0BF}"/>
          </ac:picMkLst>
        </pc:picChg>
        <pc:picChg chg="add mod">
          <ac:chgData name="MALI, NITIN" userId="S::nitin.mali@capgemini.com::06417cc5-4498-42e2-bf34-ec2c631f1a01" providerId="AD" clId="Web-{BE24EA3C-8263-48F4-A8FD-7066EF5CC03F}" dt="2023-12-07T06:22:16.737" v="22" actId="14100"/>
          <ac:picMkLst>
            <pc:docMk/>
            <pc:sldMk cId="3595769667" sldId="2145706648"/>
            <ac:picMk id="4" creationId="{AE05F55A-61D6-8CDC-156B-403DF1590CA2}"/>
          </ac:picMkLst>
        </pc:picChg>
      </pc:sldChg>
      <pc:sldChg chg="add replId">
        <pc:chgData name="MALI, NITIN" userId="S::nitin.mali@capgemini.com::06417cc5-4498-42e2-bf34-ec2c631f1a01" providerId="AD" clId="Web-{BE24EA3C-8263-48F4-A8FD-7066EF5CC03F}" dt="2023-12-07T06:20:12.088" v="0"/>
        <pc:sldMkLst>
          <pc:docMk/>
          <pc:sldMk cId="2611152142" sldId="2145706649"/>
        </pc:sldMkLst>
      </pc:sldChg>
      <pc:sldChg chg="addSp delSp modSp add del replId">
        <pc:chgData name="MALI, NITIN" userId="S::nitin.mali@capgemini.com::06417cc5-4498-42e2-bf34-ec2c631f1a01" providerId="AD" clId="Web-{BE24EA3C-8263-48F4-A8FD-7066EF5CC03F}" dt="2023-12-07T06:24:33.261" v="43"/>
        <pc:sldMkLst>
          <pc:docMk/>
          <pc:sldMk cId="2022032508" sldId="2145706650"/>
        </pc:sldMkLst>
        <pc:picChg chg="add del mod">
          <ac:chgData name="MALI, NITIN" userId="S::nitin.mali@capgemini.com::06417cc5-4498-42e2-bf34-ec2c631f1a01" providerId="AD" clId="Web-{BE24EA3C-8263-48F4-A8FD-7066EF5CC03F}" dt="2023-12-07T06:22:38.223" v="26"/>
          <ac:picMkLst>
            <pc:docMk/>
            <pc:sldMk cId="2022032508" sldId="2145706650"/>
            <ac:picMk id="3" creationId="{347740F4-5D03-B55A-A786-4992441716C1}"/>
          </ac:picMkLst>
        </pc:picChg>
        <pc:picChg chg="del">
          <ac:chgData name="MALI, NITIN" userId="S::nitin.mali@capgemini.com::06417cc5-4498-42e2-bf34-ec2c631f1a01" providerId="AD" clId="Web-{BE24EA3C-8263-48F4-A8FD-7066EF5CC03F}" dt="2023-12-07T06:22:23.784" v="24"/>
          <ac:picMkLst>
            <pc:docMk/>
            <pc:sldMk cId="2022032508" sldId="2145706650"/>
            <ac:picMk id="4" creationId="{AE05F55A-61D6-8CDC-156B-403DF1590CA2}"/>
          </ac:picMkLst>
        </pc:picChg>
        <pc:picChg chg="add del mod">
          <ac:chgData name="MALI, NITIN" userId="S::nitin.mali@capgemini.com::06417cc5-4498-42e2-bf34-ec2c631f1a01" providerId="AD" clId="Web-{BE24EA3C-8263-48F4-A8FD-7066EF5CC03F}" dt="2023-12-07T06:23:07.225" v="28"/>
          <ac:picMkLst>
            <pc:docMk/>
            <pc:sldMk cId="2022032508" sldId="2145706650"/>
            <ac:picMk id="5" creationId="{603BC7ED-07DA-E825-0188-8BD6D5483D9C}"/>
          </ac:picMkLst>
        </pc:picChg>
        <pc:picChg chg="add mod">
          <ac:chgData name="MALI, NITIN" userId="S::nitin.mali@capgemini.com::06417cc5-4498-42e2-bf34-ec2c631f1a01" providerId="AD" clId="Web-{BE24EA3C-8263-48F4-A8FD-7066EF5CC03F}" dt="2023-12-07T06:23:55.884" v="33" actId="14100"/>
          <ac:picMkLst>
            <pc:docMk/>
            <pc:sldMk cId="2022032508" sldId="2145706650"/>
            <ac:picMk id="6" creationId="{5A177FB5-5080-7BC1-965D-68D0E86DF76B}"/>
          </ac:picMkLst>
        </pc:picChg>
        <pc:picChg chg="add mod">
          <ac:chgData name="MALI, NITIN" userId="S::nitin.mali@capgemini.com::06417cc5-4498-42e2-bf34-ec2c631f1a01" providerId="AD" clId="Web-{BE24EA3C-8263-48F4-A8FD-7066EF5CC03F}" dt="2023-12-07T06:24:28.886" v="42" actId="1076"/>
          <ac:picMkLst>
            <pc:docMk/>
            <pc:sldMk cId="2022032508" sldId="2145706650"/>
            <ac:picMk id="7" creationId="{86D6BEB8-76EB-3F7A-3C6D-8EA6E2E9CA36}"/>
          </ac:picMkLst>
        </pc:picChg>
      </pc:sldChg>
      <pc:sldMasterChg chg="addSldLayout">
        <pc:chgData name="MALI, NITIN" userId="S::nitin.mali@capgemini.com::06417cc5-4498-42e2-bf34-ec2c631f1a01" providerId="AD" clId="Web-{BE24EA3C-8263-48F4-A8FD-7066EF5CC03F}" dt="2023-12-07T06:24:52.216" v="44"/>
        <pc:sldMasterMkLst>
          <pc:docMk/>
          <pc:sldMasterMk cId="3148905397" sldId="2147483899"/>
        </pc:sldMasterMkLst>
        <pc:sldLayoutChg chg="add replId">
          <pc:chgData name="MALI, NITIN" userId="S::nitin.mali@capgemini.com::06417cc5-4498-42e2-bf34-ec2c631f1a01" providerId="AD" clId="Web-{BE24EA3C-8263-48F4-A8FD-7066EF5CC03F}" dt="2023-12-07T06:24:52.216" v="44"/>
          <pc:sldLayoutMkLst>
            <pc:docMk/>
            <pc:sldMasterMk cId="3148905397" sldId="2147483899"/>
            <pc:sldLayoutMk cId="1934984209" sldId="2147483974"/>
          </pc:sldLayoutMkLst>
        </pc:sldLayoutChg>
      </pc:sldMasterChg>
    </pc:docChg>
  </pc:docChgLst>
  <pc:docChgLst>
    <pc:chgData name="MALI, NITIN" userId="S::nitin.mali@capgemini.com::06417cc5-4498-42e2-bf34-ec2c631f1a01" providerId="AD" clId="Web-{13FAF942-0D39-4DA7-84D8-5EFCDF1AA04A}"/>
    <pc:docChg chg="addSld delSld modSld">
      <pc:chgData name="MALI, NITIN" userId="S::nitin.mali@capgemini.com::06417cc5-4498-42e2-bf34-ec2c631f1a01" providerId="AD" clId="Web-{13FAF942-0D39-4DA7-84D8-5EFCDF1AA04A}" dt="2023-11-07T07:42:27.659" v="233" actId="14100"/>
      <pc:docMkLst>
        <pc:docMk/>
      </pc:docMkLst>
      <pc:sldChg chg="modSp">
        <pc:chgData name="MALI, NITIN" userId="S::nitin.mali@capgemini.com::06417cc5-4498-42e2-bf34-ec2c631f1a01" providerId="AD" clId="Web-{13FAF942-0D39-4DA7-84D8-5EFCDF1AA04A}" dt="2023-11-07T07:38:55.007" v="178" actId="1076"/>
        <pc:sldMkLst>
          <pc:docMk/>
          <pc:sldMk cId="4210273483" sldId="259"/>
        </pc:sldMkLst>
        <pc:spChg chg="mod">
          <ac:chgData name="MALI, NITIN" userId="S::nitin.mali@capgemini.com::06417cc5-4498-42e2-bf34-ec2c631f1a01" providerId="AD" clId="Web-{13FAF942-0D39-4DA7-84D8-5EFCDF1AA04A}" dt="2023-11-07T07:38:53.288" v="177" actId="1076"/>
          <ac:spMkLst>
            <pc:docMk/>
            <pc:sldMk cId="4210273483" sldId="259"/>
            <ac:spMk id="6" creationId="{B94C45C5-4FB9-AE68-DC7F-5736298DC561}"/>
          </ac:spMkLst>
        </pc:spChg>
        <pc:spChg chg="mod">
          <ac:chgData name="MALI, NITIN" userId="S::nitin.mali@capgemini.com::06417cc5-4498-42e2-bf34-ec2c631f1a01" providerId="AD" clId="Web-{13FAF942-0D39-4DA7-84D8-5EFCDF1AA04A}" dt="2023-11-07T07:34:49.635" v="0" actId="1076"/>
          <ac:spMkLst>
            <pc:docMk/>
            <pc:sldMk cId="4210273483" sldId="259"/>
            <ac:spMk id="14" creationId="{5F3E1091-DD1A-1FEC-300B-6BD968B0B2FE}"/>
          </ac:spMkLst>
        </pc:spChg>
        <pc:spChg chg="mod">
          <ac:chgData name="MALI, NITIN" userId="S::nitin.mali@capgemini.com::06417cc5-4498-42e2-bf34-ec2c631f1a01" providerId="AD" clId="Web-{13FAF942-0D39-4DA7-84D8-5EFCDF1AA04A}" dt="2023-11-07T07:38:49.835" v="176" actId="14100"/>
          <ac:spMkLst>
            <pc:docMk/>
            <pc:sldMk cId="4210273483" sldId="259"/>
            <ac:spMk id="56" creationId="{674BC3DC-98E2-4E03-85E8-0DCC5377F73D}"/>
          </ac:spMkLst>
        </pc:spChg>
        <pc:picChg chg="mod">
          <ac:chgData name="MALI, NITIN" userId="S::nitin.mali@capgemini.com::06417cc5-4498-42e2-bf34-ec2c631f1a01" providerId="AD" clId="Web-{13FAF942-0D39-4DA7-84D8-5EFCDF1AA04A}" dt="2023-11-07T07:38:55.007" v="178" actId="1076"/>
          <ac:picMkLst>
            <pc:docMk/>
            <pc:sldMk cId="4210273483" sldId="259"/>
            <ac:picMk id="4" creationId="{9D52AC32-0228-1771-0C41-FABBCB534AC0}"/>
          </ac:picMkLst>
        </pc:picChg>
      </pc:sldChg>
      <pc:sldChg chg="del">
        <pc:chgData name="MALI, NITIN" userId="S::nitin.mali@capgemini.com::06417cc5-4498-42e2-bf34-ec2c631f1a01" providerId="AD" clId="Web-{13FAF942-0D39-4DA7-84D8-5EFCDF1AA04A}" dt="2023-11-07T07:40:02.042" v="179"/>
        <pc:sldMkLst>
          <pc:docMk/>
          <pc:sldMk cId="4016547797" sldId="2145706640"/>
        </pc:sldMkLst>
      </pc:sldChg>
      <pc:sldChg chg="del">
        <pc:chgData name="MALI, NITIN" userId="S::nitin.mali@capgemini.com::06417cc5-4498-42e2-bf34-ec2c631f1a01" providerId="AD" clId="Web-{13FAF942-0D39-4DA7-84D8-5EFCDF1AA04A}" dt="2023-11-07T07:40:04.589" v="180"/>
        <pc:sldMkLst>
          <pc:docMk/>
          <pc:sldMk cId="3592056085" sldId="2145706641"/>
        </pc:sldMkLst>
      </pc:sldChg>
      <pc:sldChg chg="del">
        <pc:chgData name="MALI, NITIN" userId="S::nitin.mali@capgemini.com::06417cc5-4498-42e2-bf34-ec2c631f1a01" providerId="AD" clId="Web-{13FAF942-0D39-4DA7-84D8-5EFCDF1AA04A}" dt="2023-11-07T07:40:06.573" v="182"/>
        <pc:sldMkLst>
          <pc:docMk/>
          <pc:sldMk cId="1040271343" sldId="2145706642"/>
        </pc:sldMkLst>
      </pc:sldChg>
      <pc:sldChg chg="del">
        <pc:chgData name="MALI, NITIN" userId="S::nitin.mali@capgemini.com::06417cc5-4498-42e2-bf34-ec2c631f1a01" providerId="AD" clId="Web-{13FAF942-0D39-4DA7-84D8-5EFCDF1AA04A}" dt="2023-11-07T07:40:07.854" v="183"/>
        <pc:sldMkLst>
          <pc:docMk/>
          <pc:sldMk cId="4026276902" sldId="2145706643"/>
        </pc:sldMkLst>
      </pc:sldChg>
      <pc:sldChg chg="addSp delSp modSp add del">
        <pc:chgData name="MALI, NITIN" userId="S::nitin.mali@capgemini.com::06417cc5-4498-42e2-bf34-ec2c631f1a01" providerId="AD" clId="Web-{13FAF942-0D39-4DA7-84D8-5EFCDF1AA04A}" dt="2023-11-07T07:42:27.659" v="233" actId="14100"/>
        <pc:sldMkLst>
          <pc:docMk/>
          <pc:sldMk cId="19540248" sldId="2145706644"/>
        </pc:sldMkLst>
        <pc:spChg chg="mod">
          <ac:chgData name="MALI, NITIN" userId="S::nitin.mali@capgemini.com::06417cc5-4498-42e2-bf34-ec2c631f1a01" providerId="AD" clId="Web-{13FAF942-0D39-4DA7-84D8-5EFCDF1AA04A}" dt="2023-11-07T07:41:17.968" v="200" actId="20577"/>
          <ac:spMkLst>
            <pc:docMk/>
            <pc:sldMk cId="19540248" sldId="2145706644"/>
            <ac:spMk id="2" creationId="{A5E64932-8906-8C63-1451-048A932D9EC0}"/>
          </ac:spMkLst>
        </pc:spChg>
        <pc:spChg chg="del mod">
          <ac:chgData name="MALI, NITIN" userId="S::nitin.mali@capgemini.com::06417cc5-4498-42e2-bf34-ec2c631f1a01" providerId="AD" clId="Web-{13FAF942-0D39-4DA7-84D8-5EFCDF1AA04A}" dt="2023-11-07T07:41:38.453" v="207"/>
          <ac:spMkLst>
            <pc:docMk/>
            <pc:sldMk cId="19540248" sldId="2145706644"/>
            <ac:spMk id="3" creationId="{19A5ADB8-B710-500A-4FCA-EEB71F458021}"/>
          </ac:spMkLst>
        </pc:spChg>
        <pc:spChg chg="del mod">
          <ac:chgData name="MALI, NITIN" userId="S::nitin.mali@capgemini.com::06417cc5-4498-42e2-bf34-ec2c631f1a01" providerId="AD" clId="Web-{13FAF942-0D39-4DA7-84D8-5EFCDF1AA04A}" dt="2023-11-07T07:41:48.453" v="222"/>
          <ac:spMkLst>
            <pc:docMk/>
            <pc:sldMk cId="19540248" sldId="2145706644"/>
            <ac:spMk id="4" creationId="{D3849F46-5B86-1A80-3F8E-7B0814AC2088}"/>
          </ac:spMkLst>
        </pc:spChg>
        <pc:spChg chg="del">
          <ac:chgData name="MALI, NITIN" userId="S::nitin.mali@capgemini.com::06417cc5-4498-42e2-bf34-ec2c631f1a01" providerId="AD" clId="Web-{13FAF942-0D39-4DA7-84D8-5EFCDF1AA04A}" dt="2023-11-07T07:41:30.343" v="202"/>
          <ac:spMkLst>
            <pc:docMk/>
            <pc:sldMk cId="19540248" sldId="2145706644"/>
            <ac:spMk id="5" creationId="{6BDC3DB3-CD91-1D4C-EF81-5F8853ACD80F}"/>
          </ac:spMkLst>
        </pc:spChg>
        <pc:spChg chg="del">
          <ac:chgData name="MALI, NITIN" userId="S::nitin.mali@capgemini.com::06417cc5-4498-42e2-bf34-ec2c631f1a01" providerId="AD" clId="Web-{13FAF942-0D39-4DA7-84D8-5EFCDF1AA04A}" dt="2023-11-07T07:41:42.844" v="220"/>
          <ac:spMkLst>
            <pc:docMk/>
            <pc:sldMk cId="19540248" sldId="2145706644"/>
            <ac:spMk id="9" creationId="{F528E29E-FABE-CCE3-1076-3705667D01E0}"/>
          </ac:spMkLst>
        </pc:spChg>
        <pc:spChg chg="del">
          <ac:chgData name="MALI, NITIN" userId="S::nitin.mali@capgemini.com::06417cc5-4498-42e2-bf34-ec2c631f1a01" providerId="AD" clId="Web-{13FAF942-0D39-4DA7-84D8-5EFCDF1AA04A}" dt="2023-11-07T07:41:42.844" v="219"/>
          <ac:spMkLst>
            <pc:docMk/>
            <pc:sldMk cId="19540248" sldId="2145706644"/>
            <ac:spMk id="10" creationId="{083DF863-B679-2579-683C-4DB68FA5BCC2}"/>
          </ac:spMkLst>
        </pc:spChg>
        <pc:spChg chg="del">
          <ac:chgData name="MALI, NITIN" userId="S::nitin.mali@capgemini.com::06417cc5-4498-42e2-bf34-ec2c631f1a01" providerId="AD" clId="Web-{13FAF942-0D39-4DA7-84D8-5EFCDF1AA04A}" dt="2023-11-07T07:41:42.844" v="218"/>
          <ac:spMkLst>
            <pc:docMk/>
            <pc:sldMk cId="19540248" sldId="2145706644"/>
            <ac:spMk id="11" creationId="{1B3A3330-08FD-16E1-88B2-87B3718FE12E}"/>
          </ac:spMkLst>
        </pc:spChg>
        <pc:spChg chg="del">
          <ac:chgData name="MALI, NITIN" userId="S::nitin.mali@capgemini.com::06417cc5-4498-42e2-bf34-ec2c631f1a01" providerId="AD" clId="Web-{13FAF942-0D39-4DA7-84D8-5EFCDF1AA04A}" dt="2023-11-07T07:41:42.844" v="217"/>
          <ac:spMkLst>
            <pc:docMk/>
            <pc:sldMk cId="19540248" sldId="2145706644"/>
            <ac:spMk id="12" creationId="{3A6082E1-566E-044B-EDB8-A06AD7CB765F}"/>
          </ac:spMkLst>
        </pc:spChg>
        <pc:spChg chg="del">
          <ac:chgData name="MALI, NITIN" userId="S::nitin.mali@capgemini.com::06417cc5-4498-42e2-bf34-ec2c631f1a01" providerId="AD" clId="Web-{13FAF942-0D39-4DA7-84D8-5EFCDF1AA04A}" dt="2023-11-07T07:41:50.485" v="224"/>
          <ac:spMkLst>
            <pc:docMk/>
            <pc:sldMk cId="19540248" sldId="2145706644"/>
            <ac:spMk id="19" creationId="{B53CEB1B-6155-CCB3-4A3B-0CB9D9713C0D}"/>
          </ac:spMkLst>
        </pc:spChg>
        <pc:spChg chg="del">
          <ac:chgData name="MALI, NITIN" userId="S::nitin.mali@capgemini.com::06417cc5-4498-42e2-bf34-ec2c631f1a01" providerId="AD" clId="Web-{13FAF942-0D39-4DA7-84D8-5EFCDF1AA04A}" dt="2023-11-07T07:41:42.844" v="213"/>
          <ac:spMkLst>
            <pc:docMk/>
            <pc:sldMk cId="19540248" sldId="2145706644"/>
            <ac:spMk id="28" creationId="{48B7330D-7E44-537F-3D30-BF71A2126C1C}"/>
          </ac:spMkLst>
        </pc:spChg>
        <pc:spChg chg="del mod">
          <ac:chgData name="MALI, NITIN" userId="S::nitin.mali@capgemini.com::06417cc5-4498-42e2-bf34-ec2c631f1a01" providerId="AD" clId="Web-{13FAF942-0D39-4DA7-84D8-5EFCDF1AA04A}" dt="2023-11-07T07:41:42.844" v="212"/>
          <ac:spMkLst>
            <pc:docMk/>
            <pc:sldMk cId="19540248" sldId="2145706644"/>
            <ac:spMk id="31" creationId="{2B8F0907-4822-E7E0-100E-C14F8EF0F500}"/>
          </ac:spMkLst>
        </pc:spChg>
        <pc:spChg chg="del mod">
          <ac:chgData name="MALI, NITIN" userId="S::nitin.mali@capgemini.com::06417cc5-4498-42e2-bf34-ec2c631f1a01" providerId="AD" clId="Web-{13FAF942-0D39-4DA7-84D8-5EFCDF1AA04A}" dt="2023-11-07T07:41:42.844" v="211"/>
          <ac:spMkLst>
            <pc:docMk/>
            <pc:sldMk cId="19540248" sldId="2145706644"/>
            <ac:spMk id="32" creationId="{08CC1C9F-D5DC-52BB-24B2-F1B90BDF7F06}"/>
          </ac:spMkLst>
        </pc:spChg>
        <pc:spChg chg="del">
          <ac:chgData name="MALI, NITIN" userId="S::nitin.mali@capgemini.com::06417cc5-4498-42e2-bf34-ec2c631f1a01" providerId="AD" clId="Web-{13FAF942-0D39-4DA7-84D8-5EFCDF1AA04A}" dt="2023-11-07T07:41:31.562" v="203"/>
          <ac:spMkLst>
            <pc:docMk/>
            <pc:sldMk cId="19540248" sldId="2145706644"/>
            <ac:spMk id="33" creationId="{853E18FA-F636-D1DD-945C-AE4AD60CB12B}"/>
          </ac:spMkLst>
        </pc:spChg>
        <pc:spChg chg="del">
          <ac:chgData name="MALI, NITIN" userId="S::nitin.mali@capgemini.com::06417cc5-4498-42e2-bf34-ec2c631f1a01" providerId="AD" clId="Web-{13FAF942-0D39-4DA7-84D8-5EFCDF1AA04A}" dt="2023-11-07T07:41:42.844" v="210"/>
          <ac:spMkLst>
            <pc:docMk/>
            <pc:sldMk cId="19540248" sldId="2145706644"/>
            <ac:spMk id="34" creationId="{6373237D-E970-1106-69BC-A65EFFFB7342}"/>
          </ac:spMkLst>
        </pc:spChg>
        <pc:spChg chg="del">
          <ac:chgData name="MALI, NITIN" userId="S::nitin.mali@capgemini.com::06417cc5-4498-42e2-bf34-ec2c631f1a01" providerId="AD" clId="Web-{13FAF942-0D39-4DA7-84D8-5EFCDF1AA04A}" dt="2023-11-07T07:41:51.469" v="225"/>
          <ac:spMkLst>
            <pc:docMk/>
            <pc:sldMk cId="19540248" sldId="2145706644"/>
            <ac:spMk id="35" creationId="{A756FFB8-E1EA-9A8B-EEBE-E7A0103385A1}"/>
          </ac:spMkLst>
        </pc:spChg>
        <pc:spChg chg="del">
          <ac:chgData name="MALI, NITIN" userId="S::nitin.mali@capgemini.com::06417cc5-4498-42e2-bf34-ec2c631f1a01" providerId="AD" clId="Web-{13FAF942-0D39-4DA7-84D8-5EFCDF1AA04A}" dt="2023-11-07T07:41:42.844" v="209"/>
          <ac:spMkLst>
            <pc:docMk/>
            <pc:sldMk cId="19540248" sldId="2145706644"/>
            <ac:spMk id="36" creationId="{5698E437-6751-3839-89CF-6DA3A4644483}"/>
          </ac:spMkLst>
        </pc:spChg>
        <pc:picChg chg="add mod">
          <ac:chgData name="MALI, NITIN" userId="S::nitin.mali@capgemini.com::06417cc5-4498-42e2-bf34-ec2c631f1a01" providerId="AD" clId="Web-{13FAF942-0D39-4DA7-84D8-5EFCDF1AA04A}" dt="2023-11-07T07:42:27.659" v="233" actId="14100"/>
          <ac:picMkLst>
            <pc:docMk/>
            <pc:sldMk cId="19540248" sldId="2145706644"/>
            <ac:picMk id="6" creationId="{148B0158-B449-E9C2-B4B6-0E5000B09B00}"/>
          </ac:picMkLst>
        </pc:picChg>
        <pc:picChg chg="del">
          <ac:chgData name="MALI, NITIN" userId="S::nitin.mali@capgemini.com::06417cc5-4498-42e2-bf34-ec2c631f1a01" providerId="AD" clId="Web-{13FAF942-0D39-4DA7-84D8-5EFCDF1AA04A}" dt="2023-11-07T07:41:42.844" v="216"/>
          <ac:picMkLst>
            <pc:docMk/>
            <pc:sldMk cId="19540248" sldId="2145706644"/>
            <ac:picMk id="14" creationId="{359495EA-2E6D-213D-294B-1CAEC614B016}"/>
          </ac:picMkLst>
        </pc:picChg>
        <pc:picChg chg="del">
          <ac:chgData name="MALI, NITIN" userId="S::nitin.mali@capgemini.com::06417cc5-4498-42e2-bf34-ec2c631f1a01" providerId="AD" clId="Web-{13FAF942-0D39-4DA7-84D8-5EFCDF1AA04A}" dt="2023-11-07T07:41:39.359" v="208"/>
          <ac:picMkLst>
            <pc:docMk/>
            <pc:sldMk cId="19540248" sldId="2145706644"/>
            <ac:picMk id="16" creationId="{BB50BB5E-A3CA-C44B-B5EE-4822DFF08702}"/>
          </ac:picMkLst>
        </pc:picChg>
        <pc:picChg chg="del">
          <ac:chgData name="MALI, NITIN" userId="S::nitin.mali@capgemini.com::06417cc5-4498-42e2-bf34-ec2c631f1a01" providerId="AD" clId="Web-{13FAF942-0D39-4DA7-84D8-5EFCDF1AA04A}" dt="2023-11-07T07:41:42.844" v="215"/>
          <ac:picMkLst>
            <pc:docMk/>
            <pc:sldMk cId="19540248" sldId="2145706644"/>
            <ac:picMk id="18" creationId="{7A9416E7-B084-6FB7-1A8A-6B8D43C9D08A}"/>
          </ac:picMkLst>
        </pc:picChg>
        <pc:picChg chg="del">
          <ac:chgData name="MALI, NITIN" userId="S::nitin.mali@capgemini.com::06417cc5-4498-42e2-bf34-ec2c631f1a01" providerId="AD" clId="Web-{13FAF942-0D39-4DA7-84D8-5EFCDF1AA04A}" dt="2023-11-07T07:41:42.844" v="214"/>
          <ac:picMkLst>
            <pc:docMk/>
            <pc:sldMk cId="19540248" sldId="2145706644"/>
            <ac:picMk id="21" creationId="{508B0D80-B84F-180C-3808-5B7C40864A5F}"/>
          </ac:picMkLst>
        </pc:picChg>
        <pc:picChg chg="del">
          <ac:chgData name="MALI, NITIN" userId="S::nitin.mali@capgemini.com::06417cc5-4498-42e2-bf34-ec2c631f1a01" providerId="AD" clId="Web-{13FAF942-0D39-4DA7-84D8-5EFCDF1AA04A}" dt="2023-11-07T07:41:48.516" v="223"/>
          <ac:picMkLst>
            <pc:docMk/>
            <pc:sldMk cId="19540248" sldId="2145706644"/>
            <ac:picMk id="26" creationId="{612EBED5-C020-0100-216F-571FC6210223}"/>
          </ac:picMkLst>
        </pc:picChg>
      </pc:sldChg>
      <pc:sldChg chg="del">
        <pc:chgData name="MALI, NITIN" userId="S::nitin.mali@capgemini.com::06417cc5-4498-42e2-bf34-ec2c631f1a01" providerId="AD" clId="Web-{13FAF942-0D39-4DA7-84D8-5EFCDF1AA04A}" dt="2023-11-07T07:40:04.932" v="181"/>
        <pc:sldMkLst>
          <pc:docMk/>
          <pc:sldMk cId="378983587" sldId="2145706645"/>
        </pc:sldMkLst>
      </pc:sldChg>
    </pc:docChg>
  </pc:docChgLst>
  <pc:docChgLst>
    <pc:chgData name="MALI, NITIN" userId="S::nitin.mali@capgemini.com::06417cc5-4498-42e2-bf34-ec2c631f1a01" providerId="AD" clId="Web-{C90583C2-9EC2-44AD-B5B0-738BA2C6E804}"/>
    <pc:docChg chg="modSld">
      <pc:chgData name="MALI, NITIN" userId="S::nitin.mali@capgemini.com::06417cc5-4498-42e2-bf34-ec2c631f1a01" providerId="AD" clId="Web-{C90583C2-9EC2-44AD-B5B0-738BA2C6E804}" dt="2023-12-07T06:29:36.223" v="3" actId="1076"/>
      <pc:docMkLst>
        <pc:docMk/>
      </pc:docMkLst>
      <pc:sldChg chg="addSp modSp">
        <pc:chgData name="MALI, NITIN" userId="S::nitin.mali@capgemini.com::06417cc5-4498-42e2-bf34-ec2c631f1a01" providerId="AD" clId="Web-{C90583C2-9EC2-44AD-B5B0-738BA2C6E804}" dt="2023-12-07T06:29:36.223" v="3" actId="1076"/>
        <pc:sldMkLst>
          <pc:docMk/>
          <pc:sldMk cId="2611152142" sldId="2145706649"/>
        </pc:sldMkLst>
        <pc:spChg chg="add mod">
          <ac:chgData name="MALI, NITIN" userId="S::nitin.mali@capgemini.com::06417cc5-4498-42e2-bf34-ec2c631f1a01" providerId="AD" clId="Web-{C90583C2-9EC2-44AD-B5B0-738BA2C6E804}" dt="2023-12-07T06:29:36.223" v="3" actId="1076"/>
          <ac:spMkLst>
            <pc:docMk/>
            <pc:sldMk cId="2611152142" sldId="2145706649"/>
            <ac:spMk id="3" creationId="{29E5A5CD-82DE-5F97-281E-D288A98B073A}"/>
          </ac:spMkLst>
        </pc:spChg>
      </pc:sldChg>
    </pc:docChg>
  </pc:docChgLst>
  <pc:docChgLst>
    <pc:chgData name="MALI, NITIN" userId="S::nitin.mali@capgemini.com::06417cc5-4498-42e2-bf34-ec2c631f1a01" providerId="AD" clId="Web-{1FB1BB97-5431-466F-B465-C8CB3E17C46C}"/>
    <pc:docChg chg="addSld modSld">
      <pc:chgData name="MALI, NITIN" userId="S::nitin.mali@capgemini.com::06417cc5-4498-42e2-bf34-ec2c631f1a01" providerId="AD" clId="Web-{1FB1BB97-5431-466F-B465-C8CB3E17C46C}" dt="2023-11-07T14:10:09.669" v="2145" actId="20577"/>
      <pc:docMkLst>
        <pc:docMk/>
      </pc:docMkLst>
      <pc:sldChg chg="addSp modSp new">
        <pc:chgData name="MALI, NITIN" userId="S::nitin.mali@capgemini.com::06417cc5-4498-42e2-bf34-ec2c631f1a01" providerId="AD" clId="Web-{1FB1BB97-5431-466F-B465-C8CB3E17C46C}" dt="2023-11-07T14:09:45.450" v="2128"/>
        <pc:sldMkLst>
          <pc:docMk/>
          <pc:sldMk cId="2070303423" sldId="2145706645"/>
        </pc:sldMkLst>
        <pc:spChg chg="mod">
          <ac:chgData name="MALI, NITIN" userId="S::nitin.mali@capgemini.com::06417cc5-4498-42e2-bf34-ec2c631f1a01" providerId="AD" clId="Web-{1FB1BB97-5431-466F-B465-C8CB3E17C46C}" dt="2023-11-07T13:18:38.810" v="25" actId="14100"/>
          <ac:spMkLst>
            <pc:docMk/>
            <pc:sldMk cId="2070303423" sldId="2145706645"/>
            <ac:spMk id="2" creationId="{EA033809-EE0C-33C8-A287-93EB07E6FDF1}"/>
          </ac:spMkLst>
        </pc:spChg>
        <pc:graphicFrameChg chg="add mod modGraphic">
          <ac:chgData name="MALI, NITIN" userId="S::nitin.mali@capgemini.com::06417cc5-4498-42e2-bf34-ec2c631f1a01" providerId="AD" clId="Web-{1FB1BB97-5431-466F-B465-C8CB3E17C46C}" dt="2023-11-07T14:09:45.450" v="2128"/>
          <ac:graphicFrameMkLst>
            <pc:docMk/>
            <pc:sldMk cId="2070303423" sldId="2145706645"/>
            <ac:graphicFrameMk id="3" creationId="{C129D896-66D0-A1F3-EC85-B0E30EDA5A80}"/>
          </ac:graphicFrameMkLst>
        </pc:graphicFrameChg>
      </pc:sldChg>
      <pc:sldChg chg="addSp delSp modSp new">
        <pc:chgData name="MALI, NITIN" userId="S::nitin.mali@capgemini.com::06417cc5-4498-42e2-bf34-ec2c631f1a01" providerId="AD" clId="Web-{1FB1BB97-5431-466F-B465-C8CB3E17C46C}" dt="2023-11-07T14:09:24.590" v="2126"/>
        <pc:sldMkLst>
          <pc:docMk/>
          <pc:sldMk cId="1170065623" sldId="2145706646"/>
        </pc:sldMkLst>
        <pc:spChg chg="mod">
          <ac:chgData name="MALI, NITIN" userId="S::nitin.mali@capgemini.com::06417cc5-4498-42e2-bf34-ec2c631f1a01" providerId="AD" clId="Web-{1FB1BB97-5431-466F-B465-C8CB3E17C46C}" dt="2023-11-07T13:34:48.767" v="940" actId="20577"/>
          <ac:spMkLst>
            <pc:docMk/>
            <pc:sldMk cId="1170065623" sldId="2145706646"/>
            <ac:spMk id="2" creationId="{9FF46DEA-CA91-A689-BAEC-43084CA19EE2}"/>
          </ac:spMkLst>
        </pc:spChg>
        <pc:spChg chg="add del mod">
          <ac:chgData name="MALI, NITIN" userId="S::nitin.mali@capgemini.com::06417cc5-4498-42e2-bf34-ec2c631f1a01" providerId="AD" clId="Web-{1FB1BB97-5431-466F-B465-C8CB3E17C46C}" dt="2023-11-07T13:37:34.661" v="967"/>
          <ac:spMkLst>
            <pc:docMk/>
            <pc:sldMk cId="1170065623" sldId="2145706646"/>
            <ac:spMk id="8" creationId="{6A13F60E-D914-54AF-F509-0668C158E45C}"/>
          </ac:spMkLst>
        </pc:spChg>
        <pc:spChg chg="add del mod">
          <ac:chgData name="MALI, NITIN" userId="S::nitin.mali@capgemini.com::06417cc5-4498-42e2-bf34-ec2c631f1a01" providerId="AD" clId="Web-{1FB1BB97-5431-466F-B465-C8CB3E17C46C}" dt="2023-11-07T13:38:36.600" v="977"/>
          <ac:spMkLst>
            <pc:docMk/>
            <pc:sldMk cId="1170065623" sldId="2145706646"/>
            <ac:spMk id="11" creationId="{AFB1D2DE-6254-B47D-8E1B-25820CED5E3C}"/>
          </ac:spMkLst>
        </pc:spChg>
        <pc:graphicFrameChg chg="add del mod modGraphic">
          <ac:chgData name="MALI, NITIN" userId="S::nitin.mali@capgemini.com::06417cc5-4498-42e2-bf34-ec2c631f1a01" providerId="AD" clId="Web-{1FB1BB97-5431-466F-B465-C8CB3E17C46C}" dt="2023-11-07T13:36:31.785" v="948"/>
          <ac:graphicFrameMkLst>
            <pc:docMk/>
            <pc:sldMk cId="1170065623" sldId="2145706646"/>
            <ac:graphicFrameMk id="4" creationId="{4D6BE0B8-C60E-6BC9-C504-FB5A9F4B5D52}"/>
          </ac:graphicFrameMkLst>
        </pc:graphicFrameChg>
        <pc:graphicFrameChg chg="add del mod modGraphic">
          <ac:chgData name="MALI, NITIN" userId="S::nitin.mali@capgemini.com::06417cc5-4498-42e2-bf34-ec2c631f1a01" providerId="AD" clId="Web-{1FB1BB97-5431-466F-B465-C8CB3E17C46C}" dt="2023-11-07T14:09:24.590" v="2126"/>
          <ac:graphicFrameMkLst>
            <pc:docMk/>
            <pc:sldMk cId="1170065623" sldId="2145706646"/>
            <ac:graphicFrameMk id="5" creationId="{57ED6102-D67F-6C3A-AD2A-CDF4B19837ED}"/>
          </ac:graphicFrameMkLst>
        </pc:graphicFrameChg>
        <pc:graphicFrameChg chg="add del mod modGraphic">
          <ac:chgData name="MALI, NITIN" userId="S::nitin.mali@capgemini.com::06417cc5-4498-42e2-bf34-ec2c631f1a01" providerId="AD" clId="Web-{1FB1BB97-5431-466F-B465-C8CB3E17C46C}" dt="2023-11-07T13:37:34.661" v="968"/>
          <ac:graphicFrameMkLst>
            <pc:docMk/>
            <pc:sldMk cId="1170065623" sldId="2145706646"/>
            <ac:graphicFrameMk id="7" creationId="{D8A2BD43-6186-1A83-0E25-D25DD8E9B72B}"/>
          </ac:graphicFrameMkLst>
        </pc:graphicFrameChg>
        <pc:graphicFrameChg chg="add del mod">
          <ac:chgData name="MALI, NITIN" userId="S::nitin.mali@capgemini.com::06417cc5-4498-42e2-bf34-ec2c631f1a01" providerId="AD" clId="Web-{1FB1BB97-5431-466F-B465-C8CB3E17C46C}" dt="2023-11-07T13:38:36.600" v="978"/>
          <ac:graphicFrameMkLst>
            <pc:docMk/>
            <pc:sldMk cId="1170065623" sldId="2145706646"/>
            <ac:graphicFrameMk id="10" creationId="{B464F3A0-40BA-B816-54DA-6192E190ACB8}"/>
          </ac:graphicFrameMkLst>
        </pc:graphicFrameChg>
      </pc:sldChg>
      <pc:sldChg chg="modSp add replId">
        <pc:chgData name="MALI, NITIN" userId="S::nitin.mali@capgemini.com::06417cc5-4498-42e2-bf34-ec2c631f1a01" providerId="AD" clId="Web-{1FB1BB97-5431-466F-B465-C8CB3E17C46C}" dt="2023-11-07T14:09:14.590" v="2094"/>
        <pc:sldMkLst>
          <pc:docMk/>
          <pc:sldMk cId="783551839" sldId="2145706647"/>
        </pc:sldMkLst>
        <pc:graphicFrameChg chg="mod modGraphic">
          <ac:chgData name="MALI, NITIN" userId="S::nitin.mali@capgemini.com::06417cc5-4498-42e2-bf34-ec2c631f1a01" providerId="AD" clId="Web-{1FB1BB97-5431-466F-B465-C8CB3E17C46C}" dt="2023-11-07T14:09:14.590" v="2094"/>
          <ac:graphicFrameMkLst>
            <pc:docMk/>
            <pc:sldMk cId="783551839" sldId="2145706647"/>
            <ac:graphicFrameMk id="5" creationId="{57ED6102-D67F-6C3A-AD2A-CDF4B19837ED}"/>
          </ac:graphicFrameMkLst>
        </pc:graphicFrameChg>
      </pc:sldChg>
      <pc:sldChg chg="modSp new">
        <pc:chgData name="MALI, NITIN" userId="S::nitin.mali@capgemini.com::06417cc5-4498-42e2-bf34-ec2c631f1a01" providerId="AD" clId="Web-{1FB1BB97-5431-466F-B465-C8CB3E17C46C}" dt="2023-11-07T14:10:09.669" v="2145" actId="20577"/>
        <pc:sldMkLst>
          <pc:docMk/>
          <pc:sldMk cId="3595769667" sldId="2145706648"/>
        </pc:sldMkLst>
        <pc:spChg chg="mod">
          <ac:chgData name="MALI, NITIN" userId="S::nitin.mali@capgemini.com::06417cc5-4498-42e2-bf34-ec2c631f1a01" providerId="AD" clId="Web-{1FB1BB97-5431-466F-B465-C8CB3E17C46C}" dt="2023-11-07T14:10:09.669" v="2145" actId="20577"/>
          <ac:spMkLst>
            <pc:docMk/>
            <pc:sldMk cId="3595769667" sldId="2145706648"/>
            <ac:spMk id="2" creationId="{2A13C6FB-C07D-FA14-C500-BC4C28BEB74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2/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2/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277280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10"/>
          </p:nvPr>
        </p:nvSpPr>
        <p:spPr/>
        <p:txBody>
          <a:bodyPr/>
          <a:lstStyle/>
          <a:p>
            <a:fld id="{01FD0FBE-A81E-4E41-85AA-DB74856A8246}" type="slidenum">
              <a:rPr lang="en-IN" smtClean="0"/>
              <a:t>2</a:t>
            </a:fld>
            <a:endParaRPr lang="en-IN"/>
          </a:p>
        </p:txBody>
      </p:sp>
    </p:spTree>
    <p:extLst>
      <p:ext uri="{BB962C8B-B14F-4D97-AF65-F5344CB8AC3E}">
        <p14:creationId xmlns:p14="http://schemas.microsoft.com/office/powerpoint/2010/main" val="2452432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5760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F5A3C0A5-E01F-4FBF-A909-396B6C09983B}"/>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
        <p:nvSpPr>
          <p:cNvPr id="2" name="Title 1">
            <a:extLst>
              <a:ext uri="{FF2B5EF4-FFF2-40B4-BE49-F238E27FC236}">
                <a16:creationId xmlns:a16="http://schemas.microsoft.com/office/drawing/2014/main" id="{FFF9F5C8-B28E-4EF8-9211-AC4FE216F2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7006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47125-D056-450E-BAC9-185C74F984BB}"/>
              </a:ext>
            </a:extLst>
          </p:cNvPr>
          <p:cNvSpPr>
            <a:spLocks noGrp="1"/>
          </p:cNvSpPr>
          <p:nvPr>
            <p:ph type="title" hasCustomPrompt="1"/>
          </p:nvPr>
        </p:nvSpPr>
        <p:spPr>
          <a:xfrm>
            <a:off x="227350" y="1"/>
            <a:ext cx="11125236" cy="1104900"/>
          </a:xfrm>
          <a:prstGeom prst="rect">
            <a:avLst/>
          </a:prstGeom>
        </p:spPr>
        <p:txBody>
          <a:bodyPr/>
          <a:lstStyle>
            <a:lvl1pPr>
              <a:defRPr/>
            </a:lvl1pPr>
          </a:lstStyle>
          <a:p>
            <a:r>
              <a:rPr lang="en-US"/>
              <a:t>Title</a:t>
            </a:r>
            <a:endParaRPr lang="en-IN"/>
          </a:p>
        </p:txBody>
      </p:sp>
    </p:spTree>
    <p:extLst>
      <p:ext uri="{BB962C8B-B14F-4D97-AF65-F5344CB8AC3E}">
        <p14:creationId xmlns:p14="http://schemas.microsoft.com/office/powerpoint/2010/main" val="42942839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pic>
        <p:nvPicPr>
          <p:cNvPr id="1026" name="Picture 9" descr="Description: Description: Description: Email_CBE.gif">
            <a:extLst>
              <a:ext uri="{FF2B5EF4-FFF2-40B4-BE49-F238E27FC236}">
                <a16:creationId xmlns:a16="http://schemas.microsoft.com/office/drawing/2014/main" id="{0C5E28B3-7F83-48A6-B332-BE33FD75582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429694" y="152400"/>
            <a:ext cx="533706" cy="551497"/>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Conector reto 49">
            <a:extLst>
              <a:ext uri="{FF2B5EF4-FFF2-40B4-BE49-F238E27FC236}">
                <a16:creationId xmlns:a16="http://schemas.microsoft.com/office/drawing/2014/main" id="{B42D9664-E050-47BE-9BB9-85EE3C31C853}"/>
              </a:ext>
            </a:extLst>
          </p:cNvPr>
          <p:cNvCxnSpPr>
            <a:cxnSpLocks/>
          </p:cNvCxnSpPr>
          <p:nvPr userDrawn="1"/>
        </p:nvCxnSpPr>
        <p:spPr>
          <a:xfrm>
            <a:off x="152400" y="762000"/>
            <a:ext cx="11836407" cy="1"/>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984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35551-403C-C3FB-344A-ABDAE0AB769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4E5FC5-9F96-A2C3-EECB-038EEFEFB567}"/>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118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Resilience </a:t>
            </a:r>
            <a:r>
              <a:rPr lang="en-US" sz="700" kern="0" err="1">
                <a:solidFill>
                  <a:srgbClr val="A6A6A6"/>
                </a:solidFill>
                <a:latin typeface="Ubuntu" panose="020B0504030602030204" pitchFamily="34" charset="0"/>
                <a:cs typeface="Arial" panose="020B0604020202020204" pitchFamily="34" charset="0"/>
              </a:rPr>
              <a:t>PoV</a:t>
            </a:r>
            <a:r>
              <a:rPr lang="en-US" sz="700" kern="0">
                <a:solidFill>
                  <a:srgbClr val="A6A6A6"/>
                </a:solidFill>
                <a:latin typeface="Ubuntu" panose="020B0504030602030204" pitchFamily="34" charset="0"/>
                <a:cs typeface="Arial" panose="020B0604020202020204" pitchFamily="34" charset="0"/>
              </a:rPr>
              <a:t> |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70" r:id="rId21"/>
    <p:sldLayoutId id="2147483972" r:id="rId22"/>
    <p:sldLayoutId id="2147483974"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
        <p:nvSpPr>
          <p:cNvPr id="57" name="Rectangle 27">
            <a:extLst>
              <a:ext uri="{FF2B5EF4-FFF2-40B4-BE49-F238E27FC236}">
                <a16:creationId xmlns:a16="http://schemas.microsoft.com/office/drawing/2014/main" id="{52742C28-BF41-4CCD-91F9-0862833DAD22}"/>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Transformation Proposal for Manulife Corp - 2021</a:t>
            </a:r>
          </a:p>
        </p:txBody>
      </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73"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hyperlink" Target="https://capgemini.sharepoint.com/:w:/r/sites/CoreTeam-IndiaJavaCommunity/Shared%20Documents/Delivery%20Playbook/Delivery%20Playbook%20v1.docx?d=w82db4ad8985c481c96e3a84c39b25f41&amp;csf=1&amp;web=1&amp;e=rPCwI2"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15.sv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938C5850-3AD8-4A19-8838-07D7B2D60C2E}"/>
              </a:ext>
            </a:extLst>
          </p:cNvPr>
          <p:cNvSpPr txBox="1">
            <a:spLocks/>
          </p:cNvSpPr>
          <p:nvPr/>
        </p:nvSpPr>
        <p:spPr>
          <a:xfrm>
            <a:off x="479376" y="4392001"/>
            <a:ext cx="5851850" cy="221599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a:solidFill>
                  <a:schemeClr val="bg1"/>
                </a:solidFill>
              </a:rPr>
              <a:t>May 2023</a:t>
            </a:r>
          </a:p>
        </p:txBody>
      </p:sp>
      <p:sp>
        <p:nvSpPr>
          <p:cNvPr id="17" name="TextBox 16">
            <a:extLst>
              <a:ext uri="{FF2B5EF4-FFF2-40B4-BE49-F238E27FC236}">
                <a16:creationId xmlns:a16="http://schemas.microsoft.com/office/drawing/2014/main" id="{B094D6DF-A8F8-44AA-8C7C-8FBBE745F5BB}"/>
              </a:ext>
            </a:extLst>
          </p:cNvPr>
          <p:cNvSpPr txBox="1"/>
          <p:nvPr/>
        </p:nvSpPr>
        <p:spPr>
          <a:xfrm>
            <a:off x="446314" y="2020278"/>
            <a:ext cx="4855029" cy="1446550"/>
          </a:xfrm>
          <a:prstGeom prst="rect">
            <a:avLst/>
          </a:prstGeom>
          <a:noFill/>
        </p:spPr>
        <p:txBody>
          <a:bodyPr wrap="square">
            <a:spAutoFit/>
          </a:bodyPr>
          <a:lstStyle/>
          <a:p>
            <a:r>
              <a:rPr lang="en-GB" sz="4400">
                <a:solidFill>
                  <a:schemeClr val="bg1">
                    <a:lumMod val="95000"/>
                  </a:schemeClr>
                </a:solidFill>
              </a:rPr>
              <a:t>Delivery Playbook - Java</a:t>
            </a:r>
          </a:p>
        </p:txBody>
      </p:sp>
      <p:pic>
        <p:nvPicPr>
          <p:cNvPr id="11270" name="Picture 6" descr="Gartner top 10 data and analytics technology trends for 2019">
            <a:extLst>
              <a:ext uri="{FF2B5EF4-FFF2-40B4-BE49-F238E27FC236}">
                <a16:creationId xmlns:a16="http://schemas.microsoft.com/office/drawing/2014/main" id="{ECD64B5D-B225-46E0-90FB-B8CF27D5FD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399" r="22307"/>
          <a:stretch/>
        </p:blipFill>
        <p:spPr bwMode="auto">
          <a:xfrm>
            <a:off x="5102430" y="0"/>
            <a:ext cx="708957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B141BED-2E35-DF4F-9CAB-CC334017BAB3}"/>
              </a:ext>
              <a:ext uri="{C183D7F6-B498-43B3-948B-1728B52AA6E4}">
                <adec:decorative xmlns:adec="http://schemas.microsoft.com/office/drawing/2017/decorative" val="1"/>
              </a:ext>
            </a:extLst>
          </p:cNvPr>
          <p:cNvSpPr/>
          <p:nvPr/>
        </p:nvSpPr>
        <p:spPr>
          <a:xfrm>
            <a:off x="5106390" y="0"/>
            <a:ext cx="7085610" cy="6858000"/>
          </a:xfrm>
          <a:prstGeom prst="rect">
            <a:avLst/>
          </a:prstGeom>
          <a:solidFill>
            <a:srgbClr val="000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6" name="Picture 15" descr="A picture containing lamp, light&#10;&#10;Description automatically generated">
            <a:extLst>
              <a:ext uri="{FF2B5EF4-FFF2-40B4-BE49-F238E27FC236}">
                <a16:creationId xmlns:a16="http://schemas.microsoft.com/office/drawing/2014/main" id="{F47BA789-A6B7-4286-AE4C-0426CBCE907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7004" t="17778" r="9149" b="15555"/>
          <a:stretch/>
        </p:blipFill>
        <p:spPr>
          <a:xfrm rot="495592" flipH="1">
            <a:off x="2646440" y="1189386"/>
            <a:ext cx="7454495" cy="4758188"/>
          </a:xfrm>
          <a:prstGeom prst="rect">
            <a:avLst/>
          </a:prstGeom>
        </p:spPr>
      </p:pic>
    </p:spTree>
    <p:extLst>
      <p:ext uri="{BB962C8B-B14F-4D97-AF65-F5344CB8AC3E}">
        <p14:creationId xmlns:p14="http://schemas.microsoft.com/office/powerpoint/2010/main" val="2101722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C6FB-C07D-FA14-C500-BC4C28BEB74E}"/>
              </a:ext>
            </a:extLst>
          </p:cNvPr>
          <p:cNvSpPr>
            <a:spLocks noGrp="1"/>
          </p:cNvSpPr>
          <p:nvPr>
            <p:ph type="title"/>
          </p:nvPr>
        </p:nvSpPr>
        <p:spPr/>
        <p:txBody>
          <a:bodyPr/>
          <a:lstStyle/>
          <a:p>
            <a:r>
              <a:rPr lang="en-US"/>
              <a:t>Reference to Delivery Play Book</a:t>
            </a:r>
          </a:p>
        </p:txBody>
      </p:sp>
      <p:sp>
        <p:nvSpPr>
          <p:cNvPr id="3" name="TextBox 2">
            <a:extLst>
              <a:ext uri="{FF2B5EF4-FFF2-40B4-BE49-F238E27FC236}">
                <a16:creationId xmlns:a16="http://schemas.microsoft.com/office/drawing/2014/main" id="{29E5A5CD-82DE-5F97-281E-D288A98B073A}"/>
              </a:ext>
            </a:extLst>
          </p:cNvPr>
          <p:cNvSpPr txBox="1"/>
          <p:nvPr/>
        </p:nvSpPr>
        <p:spPr>
          <a:xfrm>
            <a:off x="484554" y="1393092"/>
            <a:ext cx="66411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2"/>
              </a:rPr>
              <a:t>Delivery Playbook v1.docx</a:t>
            </a:r>
            <a:endParaRPr lang="en-US"/>
          </a:p>
        </p:txBody>
      </p:sp>
    </p:spTree>
    <p:extLst>
      <p:ext uri="{BB962C8B-B14F-4D97-AF65-F5344CB8AC3E}">
        <p14:creationId xmlns:p14="http://schemas.microsoft.com/office/powerpoint/2010/main" val="2611152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32BB599F-7513-44C7-A9C8-5A8E5C0790D4}"/>
              </a:ext>
            </a:extLst>
          </p:cNvPr>
          <p:cNvSpPr/>
          <p:nvPr/>
        </p:nvSpPr>
        <p:spPr>
          <a:xfrm>
            <a:off x="355132" y="257611"/>
            <a:ext cx="10959807" cy="853328"/>
          </a:xfrm>
          <a:prstGeom prst="rect">
            <a:avLst/>
          </a:prstGeom>
          <a:solidFill>
            <a:schemeClr val="accent3">
              <a:lumMod val="10000"/>
              <a:lumOff val="90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b="1">
                <a:solidFill>
                  <a:srgbClr val="7030A0"/>
                </a:solidFill>
                <a:latin typeface="Verdana"/>
              </a:rPr>
              <a:t>Purpose of this playbook</a:t>
            </a:r>
            <a:endParaRPr lang="en-US" b="1">
              <a:solidFill>
                <a:srgbClr val="FFFFFF"/>
              </a:solidFill>
              <a:latin typeface="Verdana"/>
            </a:endParaRPr>
          </a:p>
        </p:txBody>
      </p:sp>
      <p:sp>
        <p:nvSpPr>
          <p:cNvPr id="56" name="Rectangle 55">
            <a:extLst>
              <a:ext uri="{FF2B5EF4-FFF2-40B4-BE49-F238E27FC236}">
                <a16:creationId xmlns:a16="http://schemas.microsoft.com/office/drawing/2014/main" id="{674BC3DC-98E2-4E03-85E8-0DCC5377F73D}"/>
              </a:ext>
            </a:extLst>
          </p:cNvPr>
          <p:cNvSpPr/>
          <p:nvPr/>
        </p:nvSpPr>
        <p:spPr>
          <a:xfrm>
            <a:off x="1497293" y="1522964"/>
            <a:ext cx="10016874" cy="2800767"/>
          </a:xfrm>
          <a:prstGeom prst="rect">
            <a:avLst/>
          </a:prstGeom>
        </p:spPr>
        <p:txBody>
          <a:bodyPr wrap="square" lIns="91440" tIns="45720" rIns="91440" bIns="45720" anchor="t">
            <a:spAutoFit/>
          </a:bodyPr>
          <a:lstStyle/>
          <a:p>
            <a:pPr marL="170815"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escribe the approach to overall delivery of a typical Java project for a subset of the organization( wave) that is embarking upon larger transformation program</a:t>
            </a:r>
            <a:endParaRPr lang="en-US"/>
          </a:p>
          <a:p>
            <a:pPr marL="170815" indent="-170815" defTabSz="914377">
              <a:buFont typeface="Arial" panose="020B0604020202020204" pitchFamily="34" charset="0"/>
              <a:buChar char="•"/>
              <a:defRPr/>
            </a:pPr>
            <a:endParaRPr lang="en-US" sz="1600">
              <a:solidFill>
                <a:prstClr val="black"/>
              </a:solidFill>
              <a:latin typeface="Calibri" panose="020F0502020204030204" pitchFamily="34" charset="0"/>
              <a:cs typeface="Calibri" panose="020F0502020204030204" pitchFamily="34" charset="0"/>
            </a:endParaRPr>
          </a:p>
          <a:p>
            <a:pPr marL="170815"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Provide detailed guidance/picture on the key activities to be performed as part of overall Delivery</a:t>
            </a:r>
          </a:p>
          <a:p>
            <a:pPr marL="628015" lvl="1"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Approach to various phase of implementation</a:t>
            </a:r>
          </a:p>
          <a:p>
            <a:pPr marL="628015" lvl="1" indent="-170815" defTabSz="914377">
              <a:buFont typeface="Arial,Sans-Serif" panose="020B0604020202020204" pitchFamily="34" charset="0"/>
              <a:buChar char="•"/>
              <a:defRPr/>
            </a:pPr>
            <a:r>
              <a:rPr lang="en-US" sz="1600">
                <a:solidFill>
                  <a:prstClr val="black"/>
                </a:solidFill>
                <a:latin typeface="Calibri"/>
                <a:cs typeface="Calibri"/>
              </a:rPr>
              <a:t>Recommended Project execution life Cycles @Capgemini</a:t>
            </a:r>
          </a:p>
          <a:p>
            <a:pPr marL="628015" lvl="1"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Guidelines and roadmaps to be followed for a selected SDLC cycle</a:t>
            </a:r>
          </a:p>
          <a:p>
            <a:pPr marL="628015" lvl="1" indent="-170815" defTabSz="914377">
              <a:buFont typeface="Arial,Sans-Serif" panose="020B0604020202020204" pitchFamily="34" charset="0"/>
              <a:buChar char="•"/>
              <a:defRPr/>
            </a:pPr>
            <a:r>
              <a:rPr lang="en-US" sz="1600">
                <a:solidFill>
                  <a:prstClr val="black"/>
                </a:solidFill>
                <a:latin typeface="Calibri"/>
                <a:cs typeface="Calibri"/>
              </a:rPr>
              <a:t>Standards and tools applicable for engagements</a:t>
            </a:r>
          </a:p>
          <a:p>
            <a:pPr marL="628015" lvl="1"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Methodology and checklists</a:t>
            </a:r>
          </a:p>
          <a:p>
            <a:pPr marL="628015" lvl="1" indent="-170815" defTabSz="914377">
              <a:buFont typeface="Arial,Sans-Serif" panose="020B0604020202020204" pitchFamily="34" charset="0"/>
              <a:buChar char="•"/>
              <a:defRPr/>
            </a:pPr>
            <a:r>
              <a:rPr lang="en-US" sz="1600">
                <a:solidFill>
                  <a:prstClr val="black"/>
                </a:solidFill>
                <a:latin typeface="Calibri"/>
                <a:cs typeface="Calibri"/>
              </a:rPr>
              <a:t>Governance and Reusable artifacts</a:t>
            </a:r>
          </a:p>
          <a:p>
            <a:pPr lvl="1" defTabSz="914377">
              <a:defRPr/>
            </a:pPr>
            <a:endParaRPr lang="en-US" sz="1600">
              <a:solidFill>
                <a:prstClr val="black"/>
              </a:solidFill>
              <a:latin typeface="Calibri"/>
              <a:cs typeface="Calibri"/>
            </a:endParaRPr>
          </a:p>
        </p:txBody>
      </p:sp>
      <p:pic>
        <p:nvPicPr>
          <p:cNvPr id="3" name="Graphic 2" descr="Thumbs up sign with solid fill">
            <a:extLst>
              <a:ext uri="{FF2B5EF4-FFF2-40B4-BE49-F238E27FC236}">
                <a16:creationId xmlns:a16="http://schemas.microsoft.com/office/drawing/2014/main" id="{7DBAA3ED-862C-1B77-F18B-851E89BE0B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657" y="1805258"/>
            <a:ext cx="914400" cy="914400"/>
          </a:xfrm>
          <a:prstGeom prst="rect">
            <a:avLst/>
          </a:prstGeom>
        </p:spPr>
      </p:pic>
      <p:pic>
        <p:nvPicPr>
          <p:cNvPr id="4" name="Graphic 3" descr="Thumbs up sign with solid fill">
            <a:extLst>
              <a:ext uri="{FF2B5EF4-FFF2-40B4-BE49-F238E27FC236}">
                <a16:creationId xmlns:a16="http://schemas.microsoft.com/office/drawing/2014/main" id="{9D52AC32-0228-1771-0C41-FABBCB534A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442378" y="4118942"/>
            <a:ext cx="1026629" cy="1026629"/>
          </a:xfrm>
          <a:prstGeom prst="rect">
            <a:avLst/>
          </a:prstGeom>
        </p:spPr>
      </p:pic>
      <p:sp>
        <p:nvSpPr>
          <p:cNvPr id="6" name="Rectangle 5">
            <a:extLst>
              <a:ext uri="{FF2B5EF4-FFF2-40B4-BE49-F238E27FC236}">
                <a16:creationId xmlns:a16="http://schemas.microsoft.com/office/drawing/2014/main" id="{B94C45C5-4FB9-AE68-DC7F-5736298DC561}"/>
              </a:ext>
            </a:extLst>
          </p:cNvPr>
          <p:cNvSpPr/>
          <p:nvPr/>
        </p:nvSpPr>
        <p:spPr>
          <a:xfrm>
            <a:off x="1501982" y="4215745"/>
            <a:ext cx="10005329" cy="830997"/>
          </a:xfrm>
          <a:prstGeom prst="rect">
            <a:avLst/>
          </a:prstGeom>
        </p:spPr>
        <p:txBody>
          <a:bodyPr wrap="square">
            <a:spAutoFit/>
          </a:bodyPr>
          <a:lstStyle/>
          <a:p>
            <a:pPr marL="171446" indent="-171446"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oes not explore the benefits and rationale for adopting a particular way of delivery cycle</a:t>
            </a:r>
          </a:p>
          <a:p>
            <a:pPr marL="171446" indent="-171446" defTabSz="914377">
              <a:buFont typeface="Arial" panose="020B0604020202020204" pitchFamily="34" charset="0"/>
              <a:buChar char="•"/>
              <a:defRPr/>
            </a:pPr>
            <a:endParaRPr lang="en-US" sz="1600">
              <a:solidFill>
                <a:prstClr val="black"/>
              </a:solidFill>
              <a:latin typeface="Calibri" panose="020F0502020204030204" pitchFamily="34" charset="0"/>
              <a:cs typeface="Calibri" panose="020F0502020204030204" pitchFamily="34" charset="0"/>
            </a:endParaRPr>
          </a:p>
          <a:p>
            <a:pPr marL="171446" indent="-171446"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oes not provide a holistic compendium/how to guide on the Delivery process. </a:t>
            </a:r>
          </a:p>
        </p:txBody>
      </p:sp>
      <p:sp>
        <p:nvSpPr>
          <p:cNvPr id="14" name="Rectangle 13">
            <a:extLst>
              <a:ext uri="{FF2B5EF4-FFF2-40B4-BE49-F238E27FC236}">
                <a16:creationId xmlns:a16="http://schemas.microsoft.com/office/drawing/2014/main" id="{5F3E1091-DD1A-1FEC-300B-6BD968B0B2FE}"/>
              </a:ext>
            </a:extLst>
          </p:cNvPr>
          <p:cNvSpPr/>
          <p:nvPr/>
        </p:nvSpPr>
        <p:spPr>
          <a:xfrm>
            <a:off x="636428" y="5752634"/>
            <a:ext cx="10005329" cy="584775"/>
          </a:xfrm>
          <a:prstGeom prst="rect">
            <a:avLst/>
          </a:prstGeom>
          <a:ln>
            <a:solidFill>
              <a:srgbClr val="002060"/>
            </a:solidFill>
          </a:ln>
        </p:spPr>
        <p:txBody>
          <a:bodyPr wrap="square">
            <a:spAutoFit/>
          </a:bodyPr>
          <a:lstStyle/>
          <a:p>
            <a:pPr defTabSz="914377">
              <a:defRPr/>
            </a:pPr>
            <a:r>
              <a:rPr lang="en-US" sz="1600" b="1">
                <a:solidFill>
                  <a:prstClr val="black"/>
                </a:solidFill>
                <a:latin typeface="Calibri" panose="020F0502020204030204" pitchFamily="34" charset="0"/>
                <a:cs typeface="Calibri" panose="020F0502020204030204" pitchFamily="34" charset="0"/>
              </a:rPr>
              <a:t>This playbook is a living document that will evolve as the team continues to embark of new projects and learn through its implementation </a:t>
            </a:r>
          </a:p>
        </p:txBody>
      </p:sp>
    </p:spTree>
    <p:extLst>
      <p:ext uri="{BB962C8B-B14F-4D97-AF65-F5344CB8AC3E}">
        <p14:creationId xmlns:p14="http://schemas.microsoft.com/office/powerpoint/2010/main" val="4210273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8E52B74C-311F-4B3B-B5E0-942404C9CD5D}"/>
              </a:ext>
            </a:extLst>
          </p:cNvPr>
          <p:cNvSpPr>
            <a:spLocks noGrp="1"/>
          </p:cNvSpPr>
          <p:nvPr>
            <p:ph type="title"/>
          </p:nvPr>
        </p:nvSpPr>
        <p:spPr>
          <a:xfrm>
            <a:off x="250434" y="0"/>
            <a:ext cx="10947772" cy="716711"/>
          </a:xfrm>
        </p:spPr>
        <p:txBody>
          <a:bodyPr/>
          <a:lstStyle/>
          <a:p>
            <a:r>
              <a:rPr lang="en-IN"/>
              <a:t>Contents of this playbook</a:t>
            </a:r>
          </a:p>
        </p:txBody>
      </p:sp>
      <p:sp>
        <p:nvSpPr>
          <p:cNvPr id="2" name="TextBox 1">
            <a:extLst>
              <a:ext uri="{FF2B5EF4-FFF2-40B4-BE49-F238E27FC236}">
                <a16:creationId xmlns:a16="http://schemas.microsoft.com/office/drawing/2014/main" id="{AE8FF802-1493-9BBE-761B-2422A2C418D6}"/>
              </a:ext>
            </a:extLst>
          </p:cNvPr>
          <p:cNvSpPr txBox="1"/>
          <p:nvPr/>
        </p:nvSpPr>
        <p:spPr>
          <a:xfrm flipH="1">
            <a:off x="949959" y="1239520"/>
            <a:ext cx="2179321" cy="461665"/>
          </a:xfrm>
          <a:prstGeom prst="rect">
            <a:avLst/>
          </a:prstGeom>
          <a:noFill/>
        </p:spPr>
        <p:txBody>
          <a:bodyPr wrap="square" rtlCol="0">
            <a:spAutoFit/>
          </a:bodyPr>
          <a:lstStyle/>
          <a:p>
            <a:r>
              <a:rPr lang="en-IN" sz="2400"/>
              <a:t>Component</a:t>
            </a:r>
          </a:p>
        </p:txBody>
      </p:sp>
      <p:sp>
        <p:nvSpPr>
          <p:cNvPr id="3" name="TextBox 2">
            <a:extLst>
              <a:ext uri="{FF2B5EF4-FFF2-40B4-BE49-F238E27FC236}">
                <a16:creationId xmlns:a16="http://schemas.microsoft.com/office/drawing/2014/main" id="{1D00F9EF-EA0F-2BA3-DAC6-29E7AFCFFE7E}"/>
              </a:ext>
            </a:extLst>
          </p:cNvPr>
          <p:cNvSpPr txBox="1"/>
          <p:nvPr/>
        </p:nvSpPr>
        <p:spPr>
          <a:xfrm flipH="1">
            <a:off x="7068880" y="1311629"/>
            <a:ext cx="3911599" cy="461665"/>
          </a:xfrm>
          <a:prstGeom prst="rect">
            <a:avLst/>
          </a:prstGeom>
          <a:noFill/>
        </p:spPr>
        <p:txBody>
          <a:bodyPr wrap="square" rtlCol="0">
            <a:spAutoFit/>
          </a:bodyPr>
          <a:lstStyle/>
          <a:p>
            <a:r>
              <a:rPr lang="en-IN" sz="2400"/>
              <a:t>Questions addressed</a:t>
            </a:r>
          </a:p>
        </p:txBody>
      </p:sp>
      <p:sp>
        <p:nvSpPr>
          <p:cNvPr id="4" name="Rectangle 3">
            <a:extLst>
              <a:ext uri="{FF2B5EF4-FFF2-40B4-BE49-F238E27FC236}">
                <a16:creationId xmlns:a16="http://schemas.microsoft.com/office/drawing/2014/main" id="{20B9FFCC-E209-67E8-62E4-111E307DC6EE}"/>
              </a:ext>
            </a:extLst>
          </p:cNvPr>
          <p:cNvSpPr/>
          <p:nvPr/>
        </p:nvSpPr>
        <p:spPr>
          <a:xfrm>
            <a:off x="1041265" y="1848783"/>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Concepts</a:t>
            </a:r>
          </a:p>
        </p:txBody>
      </p:sp>
      <p:pic>
        <p:nvPicPr>
          <p:cNvPr id="27" name="Graphic 26" descr="Lights On with solid fill">
            <a:extLst>
              <a:ext uri="{FF2B5EF4-FFF2-40B4-BE49-F238E27FC236}">
                <a16:creationId xmlns:a16="http://schemas.microsoft.com/office/drawing/2014/main" id="{096EDD22-6FC3-F734-ACC1-469F53346D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75482" y="1658814"/>
            <a:ext cx="756918" cy="756918"/>
          </a:xfrm>
          <a:prstGeom prst="rect">
            <a:avLst/>
          </a:prstGeom>
        </p:spPr>
      </p:pic>
      <p:pic>
        <p:nvPicPr>
          <p:cNvPr id="35" name="Graphic 34" descr="Bank check with solid fill">
            <a:extLst>
              <a:ext uri="{FF2B5EF4-FFF2-40B4-BE49-F238E27FC236}">
                <a16:creationId xmlns:a16="http://schemas.microsoft.com/office/drawing/2014/main" id="{BF9FA034-6A19-E546-9D1F-49B67AC9B7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51020" y="3414191"/>
            <a:ext cx="698499" cy="698499"/>
          </a:xfrm>
          <a:prstGeom prst="rect">
            <a:avLst/>
          </a:prstGeom>
        </p:spPr>
      </p:pic>
      <p:pic>
        <p:nvPicPr>
          <p:cNvPr id="37" name="Graphic 36" descr="Checklist with solid fill">
            <a:extLst>
              <a:ext uri="{FF2B5EF4-FFF2-40B4-BE49-F238E27FC236}">
                <a16:creationId xmlns:a16="http://schemas.microsoft.com/office/drawing/2014/main" id="{44743E98-7176-7254-09D2-3AAE4F35E0C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35783" y="4254292"/>
            <a:ext cx="914400" cy="579618"/>
          </a:xfrm>
          <a:prstGeom prst="rect">
            <a:avLst/>
          </a:prstGeom>
        </p:spPr>
      </p:pic>
      <p:pic>
        <p:nvPicPr>
          <p:cNvPr id="39" name="Graphic 38" descr="Tools with solid fill">
            <a:extLst>
              <a:ext uri="{FF2B5EF4-FFF2-40B4-BE49-F238E27FC236}">
                <a16:creationId xmlns:a16="http://schemas.microsoft.com/office/drawing/2014/main" id="{79A4AF93-9CD2-37B8-84C5-00E4494C5F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51680" y="5080713"/>
            <a:ext cx="528321" cy="523879"/>
          </a:xfrm>
          <a:prstGeom prst="rect">
            <a:avLst/>
          </a:prstGeom>
        </p:spPr>
      </p:pic>
      <p:pic>
        <p:nvPicPr>
          <p:cNvPr id="41" name="Graphic 40" descr="Satellite dish outline">
            <a:extLst>
              <a:ext uri="{FF2B5EF4-FFF2-40B4-BE49-F238E27FC236}">
                <a16:creationId xmlns:a16="http://schemas.microsoft.com/office/drawing/2014/main" id="{1A2C314D-D62F-BB90-5800-0FEC238DF3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11982" y="5953313"/>
            <a:ext cx="762000" cy="483014"/>
          </a:xfrm>
          <a:prstGeom prst="rect">
            <a:avLst/>
          </a:prstGeom>
        </p:spPr>
      </p:pic>
      <p:pic>
        <p:nvPicPr>
          <p:cNvPr id="43" name="Graphic 42" descr="Compass with solid fill">
            <a:extLst>
              <a:ext uri="{FF2B5EF4-FFF2-40B4-BE49-F238E27FC236}">
                <a16:creationId xmlns:a16="http://schemas.microsoft.com/office/drawing/2014/main" id="{2D69684F-CD6B-D974-FFD2-C1682F3A31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75482" y="2627664"/>
            <a:ext cx="604518" cy="604518"/>
          </a:xfrm>
          <a:prstGeom prst="rect">
            <a:avLst/>
          </a:prstGeom>
        </p:spPr>
      </p:pic>
      <p:sp>
        <p:nvSpPr>
          <p:cNvPr id="44" name="Rectangle 43">
            <a:extLst>
              <a:ext uri="{FF2B5EF4-FFF2-40B4-BE49-F238E27FC236}">
                <a16:creationId xmlns:a16="http://schemas.microsoft.com/office/drawing/2014/main" id="{80B716B2-2406-D6B1-109B-06B62DF61F19}"/>
              </a:ext>
            </a:extLst>
          </p:cNvPr>
          <p:cNvSpPr/>
          <p:nvPr/>
        </p:nvSpPr>
        <p:spPr>
          <a:xfrm>
            <a:off x="995549" y="2701631"/>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Set up and Guidelines</a:t>
            </a:r>
          </a:p>
        </p:txBody>
      </p:sp>
      <p:sp>
        <p:nvSpPr>
          <p:cNvPr id="45" name="Rectangle 44">
            <a:extLst>
              <a:ext uri="{FF2B5EF4-FFF2-40B4-BE49-F238E27FC236}">
                <a16:creationId xmlns:a16="http://schemas.microsoft.com/office/drawing/2014/main" id="{3C22C92E-F5D6-293E-B8B7-4996892D10F3}"/>
              </a:ext>
            </a:extLst>
          </p:cNvPr>
          <p:cNvSpPr/>
          <p:nvPr/>
        </p:nvSpPr>
        <p:spPr>
          <a:xfrm>
            <a:off x="1041265" y="3605082"/>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Templates/Example</a:t>
            </a:r>
          </a:p>
        </p:txBody>
      </p:sp>
      <p:sp>
        <p:nvSpPr>
          <p:cNvPr id="46" name="Rectangle 45">
            <a:extLst>
              <a:ext uri="{FF2B5EF4-FFF2-40B4-BE49-F238E27FC236}">
                <a16:creationId xmlns:a16="http://schemas.microsoft.com/office/drawing/2014/main" id="{2A7C1170-3EB7-21D1-3486-A581C7F7E284}"/>
              </a:ext>
            </a:extLst>
          </p:cNvPr>
          <p:cNvSpPr/>
          <p:nvPr/>
        </p:nvSpPr>
        <p:spPr>
          <a:xfrm>
            <a:off x="1041263" y="4340680"/>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Checklists</a:t>
            </a:r>
          </a:p>
        </p:txBody>
      </p:sp>
      <p:sp>
        <p:nvSpPr>
          <p:cNvPr id="47" name="Rectangle 46">
            <a:extLst>
              <a:ext uri="{FF2B5EF4-FFF2-40B4-BE49-F238E27FC236}">
                <a16:creationId xmlns:a16="http://schemas.microsoft.com/office/drawing/2014/main" id="{ED2EDBD1-CEA9-695E-2DB5-8599D3893148}"/>
              </a:ext>
            </a:extLst>
          </p:cNvPr>
          <p:cNvSpPr/>
          <p:nvPr/>
        </p:nvSpPr>
        <p:spPr>
          <a:xfrm>
            <a:off x="1041263" y="5142929"/>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Phase wise tools</a:t>
            </a:r>
          </a:p>
        </p:txBody>
      </p:sp>
      <p:sp>
        <p:nvSpPr>
          <p:cNvPr id="48" name="Rectangle 47">
            <a:extLst>
              <a:ext uri="{FF2B5EF4-FFF2-40B4-BE49-F238E27FC236}">
                <a16:creationId xmlns:a16="http://schemas.microsoft.com/office/drawing/2014/main" id="{840823CE-B862-A454-AFB5-CBEBCEF6E11A}"/>
              </a:ext>
            </a:extLst>
          </p:cNvPr>
          <p:cNvSpPr/>
          <p:nvPr/>
        </p:nvSpPr>
        <p:spPr>
          <a:xfrm>
            <a:off x="1041262" y="5954698"/>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References &amp; Inventory</a:t>
            </a:r>
          </a:p>
        </p:txBody>
      </p:sp>
      <p:cxnSp>
        <p:nvCxnSpPr>
          <p:cNvPr id="50" name="Straight Connector 49">
            <a:extLst>
              <a:ext uri="{FF2B5EF4-FFF2-40B4-BE49-F238E27FC236}">
                <a16:creationId xmlns:a16="http://schemas.microsoft.com/office/drawing/2014/main" id="{D24553BC-CA2B-BE24-D522-BA2D6059CF06}"/>
              </a:ext>
            </a:extLst>
          </p:cNvPr>
          <p:cNvCxnSpPr>
            <a:cxnSpLocks/>
          </p:cNvCxnSpPr>
          <p:nvPr/>
        </p:nvCxnSpPr>
        <p:spPr>
          <a:xfrm>
            <a:off x="6258560" y="1885851"/>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CBCDD4-5903-6070-6BA0-1AC1DA679012}"/>
              </a:ext>
            </a:extLst>
          </p:cNvPr>
          <p:cNvCxnSpPr>
            <a:cxnSpLocks/>
          </p:cNvCxnSpPr>
          <p:nvPr/>
        </p:nvCxnSpPr>
        <p:spPr>
          <a:xfrm>
            <a:off x="6258560" y="2415732"/>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2457034-8FA1-00E1-5E04-17F772C1B7FB}"/>
              </a:ext>
            </a:extLst>
          </p:cNvPr>
          <p:cNvCxnSpPr>
            <a:cxnSpLocks/>
          </p:cNvCxnSpPr>
          <p:nvPr/>
        </p:nvCxnSpPr>
        <p:spPr>
          <a:xfrm>
            <a:off x="6258560" y="2779931"/>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2F5970-6B15-1BBC-0A45-A805E199960F}"/>
              </a:ext>
            </a:extLst>
          </p:cNvPr>
          <p:cNvCxnSpPr>
            <a:cxnSpLocks/>
          </p:cNvCxnSpPr>
          <p:nvPr/>
        </p:nvCxnSpPr>
        <p:spPr>
          <a:xfrm>
            <a:off x="6258560" y="3309812"/>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A688B14-DCE8-E152-10C7-08B052BF4E92}"/>
              </a:ext>
            </a:extLst>
          </p:cNvPr>
          <p:cNvCxnSpPr>
            <a:cxnSpLocks/>
          </p:cNvCxnSpPr>
          <p:nvPr/>
        </p:nvCxnSpPr>
        <p:spPr>
          <a:xfrm>
            <a:off x="6258560" y="3631653"/>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C0962D0-8A65-9B8D-6C84-0AFA96A5A90A}"/>
              </a:ext>
            </a:extLst>
          </p:cNvPr>
          <p:cNvCxnSpPr>
            <a:cxnSpLocks/>
          </p:cNvCxnSpPr>
          <p:nvPr/>
        </p:nvCxnSpPr>
        <p:spPr>
          <a:xfrm>
            <a:off x="6258560" y="4161534"/>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4098C25-BC6B-6C56-C3FD-C52B7254E803}"/>
              </a:ext>
            </a:extLst>
          </p:cNvPr>
          <p:cNvCxnSpPr>
            <a:cxnSpLocks/>
          </p:cNvCxnSpPr>
          <p:nvPr/>
        </p:nvCxnSpPr>
        <p:spPr>
          <a:xfrm>
            <a:off x="6258560" y="446649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050A8AE-36FF-E004-ED1D-C2BA31C131F4}"/>
              </a:ext>
            </a:extLst>
          </p:cNvPr>
          <p:cNvCxnSpPr>
            <a:cxnSpLocks/>
          </p:cNvCxnSpPr>
          <p:nvPr/>
        </p:nvCxnSpPr>
        <p:spPr>
          <a:xfrm>
            <a:off x="6258560" y="4996372"/>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E791952-3EF3-1382-634F-096D89CCC1F2}"/>
              </a:ext>
            </a:extLst>
          </p:cNvPr>
          <p:cNvCxnSpPr>
            <a:cxnSpLocks/>
          </p:cNvCxnSpPr>
          <p:nvPr/>
        </p:nvCxnSpPr>
        <p:spPr>
          <a:xfrm>
            <a:off x="6258560" y="526913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8B17A24-1B6F-F7DE-DAD6-081B0884ACE1}"/>
              </a:ext>
            </a:extLst>
          </p:cNvPr>
          <p:cNvCxnSpPr>
            <a:cxnSpLocks/>
          </p:cNvCxnSpPr>
          <p:nvPr/>
        </p:nvCxnSpPr>
        <p:spPr>
          <a:xfrm>
            <a:off x="6258560" y="5799012"/>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AE9A7-0F57-BF88-76B8-6F11CEB93B43}"/>
              </a:ext>
            </a:extLst>
          </p:cNvPr>
          <p:cNvCxnSpPr>
            <a:cxnSpLocks/>
          </p:cNvCxnSpPr>
          <p:nvPr/>
        </p:nvCxnSpPr>
        <p:spPr>
          <a:xfrm>
            <a:off x="6258560" y="608193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5365CCE-1C93-A8E4-FFAB-C8B97A58DD38}"/>
              </a:ext>
            </a:extLst>
          </p:cNvPr>
          <p:cNvCxnSpPr>
            <a:cxnSpLocks/>
          </p:cNvCxnSpPr>
          <p:nvPr/>
        </p:nvCxnSpPr>
        <p:spPr>
          <a:xfrm>
            <a:off x="6258560" y="6500052"/>
            <a:ext cx="476504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9C2B0E0-F3EA-F9D1-E212-F32812D70E42}"/>
              </a:ext>
            </a:extLst>
          </p:cNvPr>
          <p:cNvSpPr txBox="1"/>
          <p:nvPr/>
        </p:nvSpPr>
        <p:spPr>
          <a:xfrm flipH="1">
            <a:off x="6484269" y="5253983"/>
            <a:ext cx="4191131" cy="584775"/>
          </a:xfrm>
          <a:prstGeom prst="rect">
            <a:avLst/>
          </a:prstGeom>
          <a:noFill/>
        </p:spPr>
        <p:txBody>
          <a:bodyPr wrap="square" rtlCol="0">
            <a:spAutoFit/>
          </a:bodyPr>
          <a:lstStyle/>
          <a:p>
            <a:r>
              <a:rPr lang="en-IN" sz="1600"/>
              <a:t>   Tools that can be considered during each    </a:t>
            </a:r>
          </a:p>
          <a:p>
            <a:r>
              <a:rPr lang="en-IN" sz="1600"/>
              <a:t>    phase of this topic</a:t>
            </a:r>
          </a:p>
        </p:txBody>
      </p:sp>
      <p:sp>
        <p:nvSpPr>
          <p:cNvPr id="63" name="TextBox 62">
            <a:extLst>
              <a:ext uri="{FF2B5EF4-FFF2-40B4-BE49-F238E27FC236}">
                <a16:creationId xmlns:a16="http://schemas.microsoft.com/office/drawing/2014/main" id="{B3EFAEE3-346F-AEDC-D605-EEF8053900F4}"/>
              </a:ext>
            </a:extLst>
          </p:cNvPr>
          <p:cNvSpPr txBox="1"/>
          <p:nvPr/>
        </p:nvSpPr>
        <p:spPr>
          <a:xfrm flipH="1">
            <a:off x="6608939" y="1988845"/>
            <a:ext cx="4191133" cy="338554"/>
          </a:xfrm>
          <a:prstGeom prst="rect">
            <a:avLst/>
          </a:prstGeom>
          <a:noFill/>
        </p:spPr>
        <p:txBody>
          <a:bodyPr wrap="square" rtlCol="0">
            <a:spAutoFit/>
          </a:bodyPr>
          <a:lstStyle/>
          <a:p>
            <a:r>
              <a:rPr lang="en-IN" sz="1600"/>
              <a:t>What are the best practices for this topic </a:t>
            </a:r>
          </a:p>
        </p:txBody>
      </p:sp>
      <p:sp>
        <p:nvSpPr>
          <p:cNvPr id="64" name="TextBox 63">
            <a:extLst>
              <a:ext uri="{FF2B5EF4-FFF2-40B4-BE49-F238E27FC236}">
                <a16:creationId xmlns:a16="http://schemas.microsoft.com/office/drawing/2014/main" id="{ABC03CF1-A133-3776-3199-CC1D68F54F26}"/>
              </a:ext>
            </a:extLst>
          </p:cNvPr>
          <p:cNvSpPr txBox="1"/>
          <p:nvPr/>
        </p:nvSpPr>
        <p:spPr>
          <a:xfrm flipH="1">
            <a:off x="6667424" y="2882925"/>
            <a:ext cx="4191132" cy="338554"/>
          </a:xfrm>
          <a:prstGeom prst="rect">
            <a:avLst/>
          </a:prstGeom>
          <a:noFill/>
        </p:spPr>
        <p:txBody>
          <a:bodyPr wrap="square" rtlCol="0">
            <a:spAutoFit/>
          </a:bodyPr>
          <a:lstStyle/>
          <a:p>
            <a:r>
              <a:rPr lang="en-IN" sz="1600"/>
              <a:t>How can I apply the concepts for this topic</a:t>
            </a:r>
          </a:p>
        </p:txBody>
      </p:sp>
      <p:sp>
        <p:nvSpPr>
          <p:cNvPr id="65" name="TextBox 64">
            <a:extLst>
              <a:ext uri="{FF2B5EF4-FFF2-40B4-BE49-F238E27FC236}">
                <a16:creationId xmlns:a16="http://schemas.microsoft.com/office/drawing/2014/main" id="{F5FFD4A8-2024-35F0-F846-0577E2374BD7}"/>
              </a:ext>
            </a:extLst>
          </p:cNvPr>
          <p:cNvSpPr txBox="1"/>
          <p:nvPr/>
        </p:nvSpPr>
        <p:spPr>
          <a:xfrm flipH="1">
            <a:off x="6667424" y="3745295"/>
            <a:ext cx="3952241" cy="338554"/>
          </a:xfrm>
          <a:prstGeom prst="rect">
            <a:avLst/>
          </a:prstGeom>
          <a:noFill/>
        </p:spPr>
        <p:txBody>
          <a:bodyPr wrap="square" rtlCol="0">
            <a:spAutoFit/>
          </a:bodyPr>
          <a:lstStyle/>
          <a:p>
            <a:r>
              <a:rPr lang="en-IN" sz="1600"/>
              <a:t>How does it work in practice</a:t>
            </a:r>
          </a:p>
        </p:txBody>
      </p:sp>
      <p:sp>
        <p:nvSpPr>
          <p:cNvPr id="66" name="TextBox 65">
            <a:extLst>
              <a:ext uri="{FF2B5EF4-FFF2-40B4-BE49-F238E27FC236}">
                <a16:creationId xmlns:a16="http://schemas.microsoft.com/office/drawing/2014/main" id="{CD2F2BFD-6913-9D23-FA7B-77A4BBB293D5}"/>
              </a:ext>
            </a:extLst>
          </p:cNvPr>
          <p:cNvSpPr txBox="1"/>
          <p:nvPr/>
        </p:nvSpPr>
        <p:spPr>
          <a:xfrm flipH="1">
            <a:off x="6596878" y="4590308"/>
            <a:ext cx="4078522" cy="338554"/>
          </a:xfrm>
          <a:prstGeom prst="rect">
            <a:avLst/>
          </a:prstGeom>
          <a:noFill/>
        </p:spPr>
        <p:txBody>
          <a:bodyPr wrap="square" rtlCol="0">
            <a:spAutoFit/>
          </a:bodyPr>
          <a:lstStyle/>
          <a:p>
            <a:r>
              <a:rPr lang="en-IN" sz="1600"/>
              <a:t>  What are the guard rails and guide rails</a:t>
            </a:r>
          </a:p>
        </p:txBody>
      </p:sp>
      <p:sp>
        <p:nvSpPr>
          <p:cNvPr id="67" name="TextBox 66">
            <a:extLst>
              <a:ext uri="{FF2B5EF4-FFF2-40B4-BE49-F238E27FC236}">
                <a16:creationId xmlns:a16="http://schemas.microsoft.com/office/drawing/2014/main" id="{956B832C-3AF3-BEFB-6BA0-4705A835CF67}"/>
              </a:ext>
            </a:extLst>
          </p:cNvPr>
          <p:cNvSpPr txBox="1"/>
          <p:nvPr/>
        </p:nvSpPr>
        <p:spPr>
          <a:xfrm flipH="1">
            <a:off x="6479612" y="6107607"/>
            <a:ext cx="4313054" cy="338554"/>
          </a:xfrm>
          <a:prstGeom prst="rect">
            <a:avLst/>
          </a:prstGeom>
          <a:noFill/>
        </p:spPr>
        <p:txBody>
          <a:bodyPr wrap="square" rtlCol="0">
            <a:spAutoFit/>
          </a:bodyPr>
          <a:lstStyle/>
          <a:p>
            <a:r>
              <a:rPr lang="en-IN" sz="1600"/>
              <a:t>    References ( internal and external) </a:t>
            </a:r>
          </a:p>
        </p:txBody>
      </p:sp>
    </p:spTree>
    <p:extLst>
      <p:ext uri="{BB962C8B-B14F-4D97-AF65-F5344CB8AC3E}">
        <p14:creationId xmlns:p14="http://schemas.microsoft.com/office/powerpoint/2010/main" val="246941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64932-8906-8C63-1451-048A932D9EC0}"/>
              </a:ext>
            </a:extLst>
          </p:cNvPr>
          <p:cNvSpPr>
            <a:spLocks noGrp="1"/>
          </p:cNvSpPr>
          <p:nvPr>
            <p:ph type="title"/>
          </p:nvPr>
        </p:nvSpPr>
        <p:spPr>
          <a:xfrm>
            <a:off x="434121" y="85342"/>
            <a:ext cx="10947772" cy="716711"/>
          </a:xfrm>
        </p:spPr>
        <p:txBody>
          <a:bodyPr/>
          <a:lstStyle/>
          <a:p>
            <a:r>
              <a:rPr lang="en-IN"/>
              <a:t>Typical Java Delivery lifecycle</a:t>
            </a:r>
          </a:p>
        </p:txBody>
      </p:sp>
      <p:pic>
        <p:nvPicPr>
          <p:cNvPr id="6" name="Picture 5" descr="A diagram of a software development process">
            <a:extLst>
              <a:ext uri="{FF2B5EF4-FFF2-40B4-BE49-F238E27FC236}">
                <a16:creationId xmlns:a16="http://schemas.microsoft.com/office/drawing/2014/main" id="{148B0158-B449-E9C2-B4B6-0E5000B09B00}"/>
              </a:ext>
            </a:extLst>
          </p:cNvPr>
          <p:cNvPicPr>
            <a:picLocks noChangeAspect="1"/>
          </p:cNvPicPr>
          <p:nvPr/>
        </p:nvPicPr>
        <p:blipFill>
          <a:blip r:embed="rId2"/>
          <a:stretch>
            <a:fillRect/>
          </a:stretch>
        </p:blipFill>
        <p:spPr>
          <a:xfrm>
            <a:off x="601785" y="802392"/>
            <a:ext cx="10275275" cy="5243446"/>
          </a:xfrm>
          <a:prstGeom prst="rect">
            <a:avLst/>
          </a:prstGeom>
        </p:spPr>
      </p:pic>
    </p:spTree>
    <p:extLst>
      <p:ext uri="{BB962C8B-B14F-4D97-AF65-F5344CB8AC3E}">
        <p14:creationId xmlns:p14="http://schemas.microsoft.com/office/powerpoint/2010/main" val="19540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46DEA-CA91-A689-BAEC-43084CA19EE2}"/>
              </a:ext>
            </a:extLst>
          </p:cNvPr>
          <p:cNvSpPr>
            <a:spLocks noGrp="1"/>
          </p:cNvSpPr>
          <p:nvPr>
            <p:ph type="title"/>
          </p:nvPr>
        </p:nvSpPr>
        <p:spPr/>
        <p:txBody>
          <a:bodyPr/>
          <a:lstStyle/>
          <a:p>
            <a:r>
              <a:rPr lang="en-IN"/>
              <a:t>JAVA DELIVERY LIFECYCLE – Deliverables </a:t>
            </a:r>
            <a:endParaRPr lang="en-US"/>
          </a:p>
          <a:p>
            <a:endParaRPr lang="en-US"/>
          </a:p>
        </p:txBody>
      </p:sp>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2307025711"/>
              </p:ext>
            </p:extLst>
          </p:nvPr>
        </p:nvGraphicFramePr>
        <p:xfrm>
          <a:off x="233680" y="839607"/>
          <a:ext cx="11490376" cy="582676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020987">
                  <a:extLst>
                    <a:ext uri="{9D8B030D-6E8A-4147-A177-3AD203B41FA5}">
                      <a16:colId xmlns:a16="http://schemas.microsoft.com/office/drawing/2014/main" val="2129733320"/>
                    </a:ext>
                  </a:extLst>
                </a:gridCol>
                <a:gridCol w="2356825">
                  <a:extLst>
                    <a:ext uri="{9D8B030D-6E8A-4147-A177-3AD203B41FA5}">
                      <a16:colId xmlns:a16="http://schemas.microsoft.com/office/drawing/2014/main" val="3478279155"/>
                    </a:ext>
                  </a:extLst>
                </a:gridCol>
                <a:gridCol w="1929423">
                  <a:extLst>
                    <a:ext uri="{9D8B030D-6E8A-4147-A177-3AD203B41FA5}">
                      <a16:colId xmlns:a16="http://schemas.microsoft.com/office/drawing/2014/main" val="2054807032"/>
                    </a:ext>
                  </a:extLst>
                </a:gridCol>
                <a:gridCol w="3291704">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a:solidFill>
                            <a:srgbClr val="FFFFFF"/>
                          </a:solidFill>
                          <a:latin typeface="Verdana"/>
                        </a:rPr>
                        <a:t>Phases</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ntry Criteria</a:t>
                      </a:r>
                      <a:endParaRPr lang="en-US"/>
                    </a:p>
                  </a:txBody>
                  <a:tcPr/>
                </a:tc>
                <a:tc>
                  <a:txBody>
                    <a:bodyPr/>
                    <a:lstStyle/>
                    <a:p>
                      <a:pPr lvl="0">
                        <a:buNone/>
                      </a:pPr>
                      <a:r>
                        <a:rPr lang="en-US" sz="1200" b="1" i="0" u="none" strike="noStrike" noProof="0">
                          <a:solidFill>
                            <a:srgbClr val="FFFFFF"/>
                          </a:solidFill>
                          <a:latin typeface="Verdana"/>
                        </a:rPr>
                        <a:t>Tasks</a:t>
                      </a:r>
                      <a:endParaRPr lang="en-US"/>
                    </a:p>
                  </a:txBody>
                  <a:tcPr/>
                </a:tc>
                <a:tc>
                  <a:txBody>
                    <a:bodyPr/>
                    <a:lstStyle/>
                    <a:p>
                      <a:pPr lvl="0">
                        <a:buNone/>
                      </a:pPr>
                      <a:r>
                        <a:rPr lang="en-US" sz="1200" b="1" i="0" u="none" strike="noStrike" noProof="0">
                          <a:solidFill>
                            <a:srgbClr val="FFFFFF"/>
                          </a:solidFill>
                          <a:latin typeface="Verdana"/>
                        </a:rPr>
                        <a:t>Verification</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xit Criteria</a:t>
                      </a:r>
                      <a:endParaRPr lang="en-US"/>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Business Requirements</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roposal</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SA, SOW or LOI</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apture And Analyze Business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rovide High level estimates for budgeting</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Develop Test Strategy</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Acceptance Test Plan And Test Cases</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Review and sign off of Business Requirements, test strategy</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Baselined Business Requirement Document</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Baselined Test Strategy</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Traceability Matrix updated with Business Requirements and User Acceptance Testcases</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User Acceptance Test Plan and Test Cases</a:t>
                      </a:r>
                      <a:endParaRPr lang="en-US">
                        <a:solidFill>
                          <a:schemeClr val="tx1"/>
                        </a:solidFill>
                        <a:latin typeface="Verdana"/>
                      </a:endParaRPr>
                    </a:p>
                    <a:p>
                      <a:pPr lvl="0">
                        <a:buNone/>
                      </a:pPr>
                      <a:endParaRPr lang="en-US">
                        <a:solidFill>
                          <a:schemeClr val="tx1"/>
                        </a:solidFill>
                        <a:latin typeface="Verdana"/>
                      </a:endParaRPr>
                    </a:p>
                  </a:txBody>
                  <a:tcPr/>
                </a:tc>
                <a:extLst>
                  <a:ext uri="{0D108BD9-81ED-4DB2-BD59-A6C34878D82A}">
                    <a16:rowId xmlns:a16="http://schemas.microsoft.com/office/drawing/2014/main" val="2940964377"/>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Functional/Non- Functional Requirements</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usiness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NFR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est Strategy</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apture And Analyze Functional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Performance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Test Data</a:t>
                      </a:r>
                      <a:endParaRPr lang="en-US">
                        <a:solidFill>
                          <a:schemeClr val="tx1"/>
                        </a:solidFill>
                        <a:latin typeface="Verdana"/>
                      </a:endParaRPr>
                    </a:p>
                  </a:txBody>
                  <a:tcPr/>
                </a:tc>
                <a:tc>
                  <a:txBody>
                    <a:bodyPr/>
                    <a:lstStyle/>
                    <a:p>
                      <a:pPr marL="0" lvl="0" indent="0" algn="l">
                        <a:lnSpc>
                          <a:spcPct val="100000"/>
                        </a:lnSpc>
                        <a:spcBef>
                          <a:spcPts val="0"/>
                        </a:spcBef>
                        <a:spcAft>
                          <a:spcPts val="0"/>
                        </a:spcAft>
                        <a:buNone/>
                      </a:pPr>
                      <a:r>
                        <a:rPr lang="en-US" sz="1000" b="0" i="0" u="none" strike="noStrike" noProof="0">
                          <a:solidFill>
                            <a:schemeClr val="tx1"/>
                          </a:solidFill>
                          <a:latin typeface="Verdana"/>
                        </a:rPr>
                        <a:t>Review and sign off of Functional/Non-Functional Requirements, test plan and test cases</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Requirement Specification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 NFR specs with defined Acceptance criteria</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ystem Test Plan and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Functional requirements and System Testcases</a:t>
                      </a:r>
                      <a:endParaRPr lang="en-US">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Solution Architecture</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Docu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Understand Architecture Require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Architecture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Review and sign off of Architecture document</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Architecture Document </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Architecture detail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86227984"/>
                  </a:ext>
                </a:extLst>
              </a:tr>
              <a:tr h="370840">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High Level Design</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Documen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strategy, system test plan and testcase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Cases</a:t>
                      </a:r>
                      <a:endParaRPr lang="en-US"/>
                    </a:p>
                  </a:txBody>
                  <a:tcPr/>
                </a:tc>
                <a:tc>
                  <a:txBody>
                    <a:bodyPr/>
                    <a:lstStyle/>
                    <a:p>
                      <a:pPr marL="0" lvl="0" indent="0" algn="l">
                        <a:lnSpc>
                          <a:spcPct val="100000"/>
                        </a:lnSpc>
                        <a:spcBef>
                          <a:spcPts val="0"/>
                        </a:spcBef>
                        <a:spcAft>
                          <a:spcPts val="0"/>
                        </a:spcAft>
                        <a:buNone/>
                      </a:pPr>
                      <a:r>
                        <a:rPr lang="en-US" sz="1000" b="0" i="0" u="none" strike="noStrike" noProof="0">
                          <a:solidFill>
                            <a:srgbClr val="000000"/>
                          </a:solidFill>
                          <a:latin typeface="Verdana"/>
                        </a:rPr>
                        <a:t>Review and sign off of HLD document, IT test plan and test cases</a:t>
                      </a:r>
                      <a:endParaRPr lang="en-US"/>
                    </a:p>
                    <a:p>
                      <a:pPr marL="0" lvl="0" indent="0">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Integration Test Plan and Test 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ceability Matrix updated with High Level Design and Integration Testcases</a:t>
                      </a:r>
                      <a:endParaRPr lang="en-US"/>
                    </a:p>
                  </a:txBody>
                  <a:tcPr/>
                </a:tc>
                <a:extLst>
                  <a:ext uri="{0D108BD9-81ED-4DB2-BD59-A6C34878D82A}">
                    <a16:rowId xmlns:a16="http://schemas.microsoft.com/office/drawing/2014/main" val="3124743202"/>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Low Level Design</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pdated Traceability Matrix</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 Docu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Low Level Desig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Unit Test Case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p>
                      <a:pPr lvl="0">
                        <a:buNone/>
                      </a:pPr>
                      <a:endParaRPr lang="en-US"/>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f LLD document and UT cases</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p>
                      <a:pPr lvl="0">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LLD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Unit Test 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ceability Matrix updated with Low Level Design details and the Unit Testcases</a:t>
                      </a:r>
                      <a:endParaRPr lang="en-US"/>
                    </a:p>
                    <a:p>
                      <a:pPr lvl="0" algn="l">
                        <a:lnSpc>
                          <a:spcPct val="100000"/>
                        </a:lnSpc>
                        <a:spcBef>
                          <a:spcPts val="0"/>
                        </a:spcBef>
                        <a:spcAft>
                          <a:spcPts val="0"/>
                        </a:spcAft>
                        <a:buNone/>
                      </a:pPr>
                      <a:endParaRPr lang="en-US" sz="1000" b="0" i="0" u="none" strike="noStrike" noProof="0">
                        <a:latin typeface="Arial"/>
                      </a:endParaRPr>
                    </a:p>
                    <a:p>
                      <a:pPr lvl="0">
                        <a:buNone/>
                      </a:pPr>
                      <a:endParaRPr lang="en-US"/>
                    </a:p>
                  </a:txBody>
                  <a:tcPr/>
                </a:tc>
                <a:extLst>
                  <a:ext uri="{0D108BD9-81ED-4DB2-BD59-A6C34878D82A}">
                    <a16:rowId xmlns:a16="http://schemas.microsoft.com/office/drawing/2014/main" val="1007914246"/>
                  </a:ext>
                </a:extLst>
              </a:tr>
            </a:tbl>
          </a:graphicData>
        </a:graphic>
      </p:graphicFrame>
    </p:spTree>
    <p:extLst>
      <p:ext uri="{BB962C8B-B14F-4D97-AF65-F5344CB8AC3E}">
        <p14:creationId xmlns:p14="http://schemas.microsoft.com/office/powerpoint/2010/main" val="1170065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46DEA-CA91-A689-BAEC-43084CA19EE2}"/>
              </a:ext>
            </a:extLst>
          </p:cNvPr>
          <p:cNvSpPr>
            <a:spLocks noGrp="1"/>
          </p:cNvSpPr>
          <p:nvPr>
            <p:ph type="title"/>
          </p:nvPr>
        </p:nvSpPr>
        <p:spPr/>
        <p:txBody>
          <a:bodyPr/>
          <a:lstStyle/>
          <a:p>
            <a:r>
              <a:rPr lang="en-IN"/>
              <a:t>JAVA DELIVERY LIFECYCLE – Deliverables </a:t>
            </a:r>
            <a:endParaRPr lang="en-US"/>
          </a:p>
          <a:p>
            <a:endParaRPr lang="en-US"/>
          </a:p>
        </p:txBody>
      </p:sp>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2488821458"/>
              </p:ext>
            </p:extLst>
          </p:nvPr>
        </p:nvGraphicFramePr>
        <p:xfrm>
          <a:off x="214142" y="780991"/>
          <a:ext cx="11490371" cy="579628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198077">
                  <a:extLst>
                    <a:ext uri="{9D8B030D-6E8A-4147-A177-3AD203B41FA5}">
                      <a16:colId xmlns:a16="http://schemas.microsoft.com/office/drawing/2014/main" val="2129733320"/>
                    </a:ext>
                  </a:extLst>
                </a:gridCol>
                <a:gridCol w="3107811">
                  <a:extLst>
                    <a:ext uri="{9D8B030D-6E8A-4147-A177-3AD203B41FA5}">
                      <a16:colId xmlns:a16="http://schemas.microsoft.com/office/drawing/2014/main" val="3478279155"/>
                    </a:ext>
                  </a:extLst>
                </a:gridCol>
                <a:gridCol w="1751384">
                  <a:extLst>
                    <a:ext uri="{9D8B030D-6E8A-4147-A177-3AD203B41FA5}">
                      <a16:colId xmlns:a16="http://schemas.microsoft.com/office/drawing/2014/main" val="2054807032"/>
                    </a:ext>
                  </a:extLst>
                </a:gridCol>
                <a:gridCol w="2541662">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a:solidFill>
                            <a:srgbClr val="FFFFFF"/>
                          </a:solidFill>
                          <a:latin typeface="Verdana"/>
                        </a:rPr>
                        <a:t>Phases</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ntry Criteria</a:t>
                      </a:r>
                      <a:endParaRPr lang="en-US"/>
                    </a:p>
                  </a:txBody>
                  <a:tcPr/>
                </a:tc>
                <a:tc>
                  <a:txBody>
                    <a:bodyPr/>
                    <a:lstStyle/>
                    <a:p>
                      <a:pPr lvl="0">
                        <a:buNone/>
                      </a:pPr>
                      <a:r>
                        <a:rPr lang="en-US" sz="1200" b="1" i="0" u="none" strike="noStrike" noProof="0">
                          <a:solidFill>
                            <a:srgbClr val="FFFFFF"/>
                          </a:solidFill>
                          <a:latin typeface="Verdana"/>
                        </a:rPr>
                        <a:t>Tasks</a:t>
                      </a:r>
                      <a:endParaRPr lang="en-US"/>
                    </a:p>
                  </a:txBody>
                  <a:tcPr/>
                </a:tc>
                <a:tc>
                  <a:txBody>
                    <a:bodyPr/>
                    <a:lstStyle/>
                    <a:p>
                      <a:pPr lvl="0">
                        <a:buNone/>
                      </a:pPr>
                      <a:r>
                        <a:rPr lang="en-US" sz="1200" b="1" i="0" u="none" strike="noStrike" noProof="0">
                          <a:solidFill>
                            <a:srgbClr val="FFFFFF"/>
                          </a:solidFill>
                          <a:latin typeface="Verdana"/>
                        </a:rPr>
                        <a:t>Verification</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xit Criteria</a:t>
                      </a:r>
                      <a:endParaRPr lang="en-US"/>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Development/Unit Testing</a:t>
                      </a: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High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Low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Architecture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Specificatio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ing by following test driven development and coding standard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Establish CI/CD pipeline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un code quality tools in the I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Fix the code quality issues, Check-in the code daily into the config repository</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e Review by following pull approach and fix code review comments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Unit Testing and fix the defects</a:t>
                      </a: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checks using too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checks using tools</a:t>
                      </a:r>
                      <a:endParaRPr lang="en-US" sz="1000">
                        <a:solidFill>
                          <a:schemeClr val="tx1"/>
                        </a:solidFill>
                        <a:latin typeface="Verdana"/>
                      </a:endParaRPr>
                    </a:p>
                    <a:p>
                      <a:pPr lvl="0" algn="l">
                        <a:lnSpc>
                          <a:spcPct val="100000"/>
                        </a:lnSpc>
                        <a:spcBef>
                          <a:spcPts val="0"/>
                        </a:spcBef>
                        <a:spcAft>
                          <a:spcPts val="0"/>
                        </a:spcAft>
                        <a:buNone/>
                      </a:pPr>
                      <a:endParaRPr lang="en-US" sz="1000" b="0" i="0" u="none" strike="noStrike" noProof="0">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p>
                      <a:pPr lvl="0">
                        <a:buNone/>
                      </a:pP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ource Co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Source Code detai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targets passed</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targets passed </a:t>
                      </a:r>
                    </a:p>
                    <a:p>
                      <a:pPr marL="0" lvl="0" indent="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Integration Testing</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ion Testcase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ed Source Cod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p>
                      <a:pPr marL="0" lvl="0" indent="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Integration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Quality gate checks using tools integrated into CI/CD pipeline</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Quality gates passed </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86227984"/>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System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s </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il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Environment</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et Up System Test Environmen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System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coverage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execution resul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product delivery audits</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Results Passed</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ser documenta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p>
                  </a:txBody>
                  <a:tcPr/>
                </a:tc>
                <a:extLst>
                  <a:ext uri="{0D108BD9-81ED-4DB2-BD59-A6C34878D82A}">
                    <a16:rowId xmlns:a16="http://schemas.microsoft.com/office/drawing/2014/main" val="3124743202"/>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ser Acceptance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Plan/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siness Requirement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Test Environ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Support for Acceptance test by customer and fix the defects</a:t>
                      </a: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AT  coverage</a:t>
                      </a:r>
                      <a:endParaRPr lang="en-US"/>
                    </a:p>
                    <a:p>
                      <a:pPr lvl="0" algn="l">
                        <a:lnSpc>
                          <a:spcPct val="100000"/>
                        </a:lnSpc>
                        <a:spcBef>
                          <a:spcPts val="0"/>
                        </a:spcBef>
                        <a:spcAft>
                          <a:spcPts val="0"/>
                        </a:spcAft>
                        <a:buNone/>
                      </a:pPr>
                      <a:r>
                        <a:rPr lang="en-US" sz="1000" b="0" i="0" u="none" strike="noStrike" noProof="0">
                          <a:solidFill>
                            <a:srgbClr val="000000"/>
                          </a:solidFill>
                          <a:latin typeface="Verdana"/>
                        </a:rPr>
                        <a:t>Test execution results </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Results Passe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 and Go-live approval</a:t>
                      </a:r>
                      <a:endParaRPr lang="en-US"/>
                    </a:p>
                  </a:txBody>
                  <a:tcPr/>
                </a:tc>
                <a:extLst>
                  <a:ext uri="{0D108BD9-81ED-4DB2-BD59-A6C34878D82A}">
                    <a16:rowId xmlns:a16="http://schemas.microsoft.com/office/drawing/2014/main" val="2894448772"/>
                  </a:ext>
                </a:extLst>
              </a:tr>
              <a:tr h="370838">
                <a:tc>
                  <a:txBody>
                    <a:bodyPr/>
                    <a:lstStyle/>
                    <a:p>
                      <a:pPr lvl="0">
                        <a:buNone/>
                      </a:pPr>
                      <a:r>
                        <a:rPr lang="en-US" sz="1000" b="0" i="0" u="none" strike="noStrike" noProof="0">
                          <a:solidFill>
                            <a:srgbClr val="000000"/>
                          </a:solidFill>
                          <a:latin typeface="Verdana"/>
                        </a:rPr>
                        <a:t>Implementation</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Package</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mplementation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epare For Implementation</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Deploy The code in produc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onduct User Training</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ut over and go liv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n successful deploy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uccessful code deployment in Production</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2032698276"/>
                  </a:ext>
                </a:extLst>
              </a:tr>
              <a:tr h="370838">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Warranty and Handover</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ining Material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ll deliverables from above steps</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Warranty Suppor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f Handover docu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 team successfully completed</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1080332187"/>
                  </a:ext>
                </a:extLst>
              </a:tr>
            </a:tbl>
          </a:graphicData>
        </a:graphic>
      </p:graphicFrame>
    </p:spTree>
    <p:extLst>
      <p:ext uri="{BB962C8B-B14F-4D97-AF65-F5344CB8AC3E}">
        <p14:creationId xmlns:p14="http://schemas.microsoft.com/office/powerpoint/2010/main" val="7835518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33809-EE0C-33C8-A287-93EB07E6FDF1}"/>
              </a:ext>
            </a:extLst>
          </p:cNvPr>
          <p:cNvSpPr>
            <a:spLocks noGrp="1"/>
          </p:cNvSpPr>
          <p:nvPr>
            <p:ph type="title"/>
          </p:nvPr>
        </p:nvSpPr>
        <p:spPr>
          <a:xfrm>
            <a:off x="404813" y="388188"/>
            <a:ext cx="10947772" cy="316173"/>
          </a:xfrm>
        </p:spPr>
        <p:txBody>
          <a:bodyPr/>
          <a:lstStyle/>
          <a:p>
            <a:r>
              <a:rPr lang="en-US"/>
              <a:t>Recommended Standards, Tools, Frameworks</a:t>
            </a:r>
          </a:p>
        </p:txBody>
      </p:sp>
      <p:graphicFrame>
        <p:nvGraphicFramePr>
          <p:cNvPr id="3" name="Table 2">
            <a:extLst>
              <a:ext uri="{FF2B5EF4-FFF2-40B4-BE49-F238E27FC236}">
                <a16:creationId xmlns:a16="http://schemas.microsoft.com/office/drawing/2014/main" id="{C129D896-66D0-A1F3-EC85-B0E30EDA5A80}"/>
              </a:ext>
            </a:extLst>
          </p:cNvPr>
          <p:cNvGraphicFramePr>
            <a:graphicFrameLocks noGrp="1"/>
          </p:cNvGraphicFramePr>
          <p:nvPr>
            <p:extLst>
              <p:ext uri="{D42A27DB-BD31-4B8C-83A1-F6EECF244321}">
                <p14:modId xmlns:p14="http://schemas.microsoft.com/office/powerpoint/2010/main" val="3750258542"/>
              </p:ext>
            </p:extLst>
          </p:nvPr>
        </p:nvGraphicFramePr>
        <p:xfrm>
          <a:off x="351692" y="781538"/>
          <a:ext cx="11218931" cy="5501638"/>
        </p:xfrm>
        <a:graphic>
          <a:graphicData uri="http://schemas.openxmlformats.org/drawingml/2006/table">
            <a:tbl>
              <a:tblPr firstRow="1" bandRow="1">
                <a:tableStyleId>{5C22544A-7EE6-4342-B048-85BDC9FD1C3A}</a:tableStyleId>
              </a:tblPr>
              <a:tblGrid>
                <a:gridCol w="3247019">
                  <a:extLst>
                    <a:ext uri="{9D8B030D-6E8A-4147-A177-3AD203B41FA5}">
                      <a16:colId xmlns:a16="http://schemas.microsoft.com/office/drawing/2014/main" val="615363209"/>
                    </a:ext>
                  </a:extLst>
                </a:gridCol>
                <a:gridCol w="3247019">
                  <a:extLst>
                    <a:ext uri="{9D8B030D-6E8A-4147-A177-3AD203B41FA5}">
                      <a16:colId xmlns:a16="http://schemas.microsoft.com/office/drawing/2014/main" val="333451128"/>
                    </a:ext>
                  </a:extLst>
                </a:gridCol>
                <a:gridCol w="4724893">
                  <a:extLst>
                    <a:ext uri="{9D8B030D-6E8A-4147-A177-3AD203B41FA5}">
                      <a16:colId xmlns:a16="http://schemas.microsoft.com/office/drawing/2014/main" val="801222919"/>
                    </a:ext>
                  </a:extLst>
                </a:gridCol>
              </a:tblGrid>
              <a:tr h="370840">
                <a:tc>
                  <a:txBody>
                    <a:bodyPr/>
                    <a:lstStyle/>
                    <a:p>
                      <a:r>
                        <a:rPr lang="en-US" sz="1400"/>
                        <a:t>Standards/Tools/Frameworks</a:t>
                      </a:r>
                    </a:p>
                  </a:txBody>
                  <a:tcPr/>
                </a:tc>
                <a:tc>
                  <a:txBody>
                    <a:bodyPr/>
                    <a:lstStyle/>
                    <a:p>
                      <a:r>
                        <a:rPr lang="en-US" sz="1400"/>
                        <a:t>Recommendations</a:t>
                      </a:r>
                    </a:p>
                  </a:txBody>
                  <a:tcPr/>
                </a:tc>
                <a:tc>
                  <a:txBody>
                    <a:bodyPr/>
                    <a:lstStyle/>
                    <a:p>
                      <a:r>
                        <a:rPr lang="en-US" sz="1400"/>
                        <a:t>Comment</a:t>
                      </a:r>
                    </a:p>
                  </a:txBody>
                  <a:tcPr/>
                </a:tc>
                <a:extLst>
                  <a:ext uri="{0D108BD9-81ED-4DB2-BD59-A6C34878D82A}">
                    <a16:rowId xmlns:a16="http://schemas.microsoft.com/office/drawing/2014/main" val="1363268100"/>
                  </a:ext>
                </a:extLst>
              </a:tr>
              <a:tr h="370840">
                <a:tc>
                  <a:txBody>
                    <a:bodyPr/>
                    <a:lstStyle/>
                    <a:p>
                      <a:r>
                        <a:rPr lang="en-US" sz="1200"/>
                        <a:t>Language</a:t>
                      </a:r>
                    </a:p>
                  </a:txBody>
                  <a:tcPr/>
                </a:tc>
                <a:tc>
                  <a:txBody>
                    <a:bodyPr/>
                    <a:lstStyle/>
                    <a:p>
                      <a:r>
                        <a:rPr lang="en-US" sz="1200"/>
                        <a:t>Java 8+</a:t>
                      </a:r>
                    </a:p>
                  </a:txBody>
                  <a:tcPr/>
                </a:tc>
                <a:tc>
                  <a:txBody>
                    <a:bodyPr/>
                    <a:lstStyle/>
                    <a:p>
                      <a:r>
                        <a:rPr lang="en-US" sz="1200"/>
                        <a:t>Availability of latest features</a:t>
                      </a:r>
                    </a:p>
                  </a:txBody>
                  <a:tcPr/>
                </a:tc>
                <a:extLst>
                  <a:ext uri="{0D108BD9-81ED-4DB2-BD59-A6C34878D82A}">
                    <a16:rowId xmlns:a16="http://schemas.microsoft.com/office/drawing/2014/main" val="2159744030"/>
                  </a:ext>
                </a:extLst>
              </a:tr>
              <a:tr h="370839">
                <a:tc>
                  <a:txBody>
                    <a:bodyPr/>
                    <a:lstStyle/>
                    <a:p>
                      <a:pPr lvl="0">
                        <a:buNone/>
                      </a:pPr>
                      <a:r>
                        <a:rPr lang="en-US" sz="1200"/>
                        <a:t>SDLC methodology</a:t>
                      </a:r>
                    </a:p>
                  </a:txBody>
                  <a:tcPr/>
                </a:tc>
                <a:tc>
                  <a:txBody>
                    <a:bodyPr/>
                    <a:lstStyle/>
                    <a:p>
                      <a:pPr marL="285750" lvl="0" indent="-285750">
                        <a:buFont typeface="Arial"/>
                        <a:buChar char="•"/>
                      </a:pPr>
                      <a:r>
                        <a:rPr lang="en-US" sz="1200"/>
                        <a:t>Agile</a:t>
                      </a:r>
                    </a:p>
                    <a:p>
                      <a:pPr marL="285750" lvl="0" indent="-285750">
                        <a:buFont typeface="Arial"/>
                        <a:buChar char="•"/>
                      </a:pPr>
                      <a:r>
                        <a:rPr lang="en-US" sz="1200"/>
                        <a:t>Iterative</a:t>
                      </a:r>
                    </a:p>
                  </a:txBody>
                  <a:tcPr/>
                </a:tc>
                <a:tc>
                  <a:txBody>
                    <a:bodyPr/>
                    <a:lstStyle/>
                    <a:p>
                      <a:pPr lvl="0">
                        <a:buNone/>
                      </a:pPr>
                      <a:r>
                        <a:rPr lang="en-US" sz="1200"/>
                        <a:t>Agile is commonly used both for development and prod support</a:t>
                      </a:r>
                    </a:p>
                  </a:txBody>
                  <a:tcPr/>
                </a:tc>
                <a:extLst>
                  <a:ext uri="{0D108BD9-81ED-4DB2-BD59-A6C34878D82A}">
                    <a16:rowId xmlns:a16="http://schemas.microsoft.com/office/drawing/2014/main" val="3992634445"/>
                  </a:ext>
                </a:extLst>
              </a:tr>
              <a:tr h="370840">
                <a:tc>
                  <a:txBody>
                    <a:bodyPr/>
                    <a:lstStyle/>
                    <a:p>
                      <a:r>
                        <a:rPr lang="en-US" sz="1200"/>
                        <a:t>Coding Framework</a:t>
                      </a:r>
                    </a:p>
                  </a:txBody>
                  <a:tcPr/>
                </a:tc>
                <a:tc>
                  <a:txBody>
                    <a:bodyPr/>
                    <a:lstStyle/>
                    <a:p>
                      <a:pPr marL="285750" indent="-285750">
                        <a:buFont typeface="Arial"/>
                        <a:buChar char="•"/>
                      </a:pPr>
                      <a:r>
                        <a:rPr lang="en-US" sz="1200"/>
                        <a:t>IntelliJ</a:t>
                      </a:r>
                    </a:p>
                    <a:p>
                      <a:pPr marL="285750" lvl="0" indent="-285750">
                        <a:buFont typeface="Arial"/>
                        <a:buChar char="•"/>
                      </a:pPr>
                      <a:r>
                        <a:rPr lang="en-US" sz="1200"/>
                        <a:t>Eclipse</a:t>
                      </a:r>
                    </a:p>
                  </a:txBody>
                  <a:tcPr/>
                </a:tc>
                <a:tc>
                  <a:txBody>
                    <a:bodyPr/>
                    <a:lstStyle/>
                    <a:p>
                      <a:r>
                        <a:rPr lang="en-US" sz="1200"/>
                        <a:t>Most used IDEs</a:t>
                      </a:r>
                    </a:p>
                  </a:txBody>
                  <a:tcPr/>
                </a:tc>
                <a:extLst>
                  <a:ext uri="{0D108BD9-81ED-4DB2-BD59-A6C34878D82A}">
                    <a16:rowId xmlns:a16="http://schemas.microsoft.com/office/drawing/2014/main" val="1411666934"/>
                  </a:ext>
                </a:extLst>
              </a:tr>
              <a:tr h="370840">
                <a:tc>
                  <a:txBody>
                    <a:bodyPr/>
                    <a:lstStyle/>
                    <a:p>
                      <a:r>
                        <a:rPr lang="en-US" sz="1200"/>
                        <a:t>Build Tools</a:t>
                      </a:r>
                    </a:p>
                  </a:txBody>
                  <a:tcPr/>
                </a:tc>
                <a:tc>
                  <a:txBody>
                    <a:bodyPr/>
                    <a:lstStyle/>
                    <a:p>
                      <a:pPr marL="285750" indent="-285750">
                        <a:buFont typeface="Arial"/>
                        <a:buChar char="•"/>
                      </a:pPr>
                      <a:r>
                        <a:rPr lang="en-US" sz="1200"/>
                        <a:t>Maven</a:t>
                      </a:r>
                    </a:p>
                    <a:p>
                      <a:pPr marL="285750" lvl="0" indent="-285750">
                        <a:buFont typeface="Arial"/>
                        <a:buChar char="•"/>
                      </a:pPr>
                      <a:r>
                        <a:rPr lang="en-US" sz="1200"/>
                        <a:t>Gradle</a:t>
                      </a:r>
                    </a:p>
                  </a:txBody>
                  <a:tcPr/>
                </a:tc>
                <a:tc>
                  <a:txBody>
                    <a:bodyPr/>
                    <a:lstStyle/>
                    <a:p>
                      <a:endParaRPr lang="en-US" sz="1200"/>
                    </a:p>
                  </a:txBody>
                  <a:tcPr/>
                </a:tc>
                <a:extLst>
                  <a:ext uri="{0D108BD9-81ED-4DB2-BD59-A6C34878D82A}">
                    <a16:rowId xmlns:a16="http://schemas.microsoft.com/office/drawing/2014/main" val="3013371144"/>
                  </a:ext>
                </a:extLst>
              </a:tr>
              <a:tr h="370840">
                <a:tc>
                  <a:txBody>
                    <a:bodyPr/>
                    <a:lstStyle/>
                    <a:p>
                      <a:r>
                        <a:rPr lang="en-US" sz="1200"/>
                        <a:t>Logging Framework</a:t>
                      </a:r>
                    </a:p>
                  </a:txBody>
                  <a:tcPr/>
                </a:tc>
                <a:tc>
                  <a:txBody>
                    <a:bodyPr/>
                    <a:lstStyle/>
                    <a:p>
                      <a:pPr marL="285750" indent="-285750">
                        <a:buFont typeface="Arial"/>
                        <a:buChar char="•"/>
                      </a:pPr>
                      <a:r>
                        <a:rPr lang="en-US" sz="1200"/>
                        <a:t>Log4J</a:t>
                      </a:r>
                    </a:p>
                    <a:p>
                      <a:pPr marL="285750" lvl="0" indent="-285750">
                        <a:buFont typeface="Arial"/>
                        <a:buChar char="•"/>
                      </a:pPr>
                      <a:r>
                        <a:rPr lang="en-US" sz="1200"/>
                        <a:t>slf4j</a:t>
                      </a:r>
                    </a:p>
                  </a:txBody>
                  <a:tcPr/>
                </a:tc>
                <a:tc>
                  <a:txBody>
                    <a:bodyPr/>
                    <a:lstStyle/>
                    <a:p>
                      <a:pPr lvl="0">
                        <a:buNone/>
                      </a:pPr>
                      <a:r>
                        <a:rPr lang="en-US" sz="1200" b="0" i="0" u="none" strike="noStrike" noProof="0">
                          <a:solidFill>
                            <a:srgbClr val="000000"/>
                          </a:solidFill>
                          <a:latin typeface="Ubuntu"/>
                        </a:rPr>
                        <a:t>Well known logging frameworks for Java</a:t>
                      </a:r>
                      <a:endParaRPr lang="en-US" sz="1200"/>
                    </a:p>
                  </a:txBody>
                  <a:tcPr/>
                </a:tc>
                <a:extLst>
                  <a:ext uri="{0D108BD9-81ED-4DB2-BD59-A6C34878D82A}">
                    <a16:rowId xmlns:a16="http://schemas.microsoft.com/office/drawing/2014/main" val="2491166556"/>
                  </a:ext>
                </a:extLst>
              </a:tr>
              <a:tr h="370839">
                <a:tc>
                  <a:txBody>
                    <a:bodyPr/>
                    <a:lstStyle/>
                    <a:p>
                      <a:pPr lvl="0">
                        <a:buNone/>
                      </a:pPr>
                      <a:r>
                        <a:rPr lang="en-US" sz="1200"/>
                        <a:t>Testing</a:t>
                      </a:r>
                    </a:p>
                  </a:txBody>
                  <a:tcPr/>
                </a:tc>
                <a:tc>
                  <a:txBody>
                    <a:bodyPr/>
                    <a:lstStyle/>
                    <a:p>
                      <a:pPr marL="285750" lvl="0" indent="-285750">
                        <a:buFont typeface="Arial"/>
                        <a:buChar char="•"/>
                      </a:pPr>
                      <a:r>
                        <a:rPr lang="en-US" sz="1200"/>
                        <a:t>JUnit</a:t>
                      </a:r>
                    </a:p>
                    <a:p>
                      <a:pPr marL="285750" lvl="0" indent="-285750">
                        <a:buFont typeface="Arial"/>
                        <a:buChar char="•"/>
                      </a:pPr>
                      <a:r>
                        <a:rPr lang="en-US" sz="1200"/>
                        <a:t>Mockito</a:t>
                      </a:r>
                    </a:p>
                    <a:p>
                      <a:pPr marL="285750" lvl="0" indent="-285750">
                        <a:buFont typeface="Arial"/>
                        <a:buChar char="•"/>
                      </a:pPr>
                      <a:r>
                        <a:rPr lang="en-US" sz="1200"/>
                        <a:t>Swagger</a:t>
                      </a:r>
                    </a:p>
                    <a:p>
                      <a:pPr marL="285750" lvl="0" indent="-285750">
                        <a:buFont typeface="Arial"/>
                        <a:buChar char="•"/>
                      </a:pPr>
                      <a:r>
                        <a:rPr lang="en-US" sz="1200"/>
                        <a:t>Postman</a:t>
                      </a:r>
                    </a:p>
                  </a:txBody>
                  <a:tcPr/>
                </a:tc>
                <a:tc>
                  <a:txBody>
                    <a:bodyPr/>
                    <a:lstStyle/>
                    <a:p>
                      <a:pPr lvl="0">
                        <a:buNone/>
                      </a:pPr>
                      <a:r>
                        <a:rPr lang="en-US" sz="1200"/>
                        <a:t>Well known testing frameworks/tools for Java</a:t>
                      </a:r>
                    </a:p>
                  </a:txBody>
                  <a:tcPr/>
                </a:tc>
                <a:extLst>
                  <a:ext uri="{0D108BD9-81ED-4DB2-BD59-A6C34878D82A}">
                    <a16:rowId xmlns:a16="http://schemas.microsoft.com/office/drawing/2014/main" val="2050914587"/>
                  </a:ext>
                </a:extLst>
              </a:tr>
              <a:tr h="370838">
                <a:tc>
                  <a:txBody>
                    <a:bodyPr/>
                    <a:lstStyle/>
                    <a:p>
                      <a:pPr lvl="0">
                        <a:buNone/>
                      </a:pPr>
                      <a:r>
                        <a:rPr lang="en-US" sz="1200"/>
                        <a:t>CI/CD</a:t>
                      </a:r>
                    </a:p>
                  </a:txBody>
                  <a:tcPr/>
                </a:tc>
                <a:tc>
                  <a:txBody>
                    <a:bodyPr/>
                    <a:lstStyle/>
                    <a:p>
                      <a:pPr marL="285750" lvl="0" indent="-285750">
                        <a:buFont typeface="Arial"/>
                        <a:buChar char="•"/>
                      </a:pPr>
                      <a:r>
                        <a:rPr lang="en-US" sz="1200"/>
                        <a:t>Jenkins</a:t>
                      </a:r>
                    </a:p>
                  </a:txBody>
                  <a:tcPr/>
                </a:tc>
                <a:tc>
                  <a:txBody>
                    <a:bodyPr/>
                    <a:lstStyle/>
                    <a:p>
                      <a:pPr lvl="0">
                        <a:buNone/>
                      </a:pPr>
                      <a:endParaRPr lang="en-US" sz="1200"/>
                    </a:p>
                  </a:txBody>
                  <a:tcPr/>
                </a:tc>
                <a:extLst>
                  <a:ext uri="{0D108BD9-81ED-4DB2-BD59-A6C34878D82A}">
                    <a16:rowId xmlns:a16="http://schemas.microsoft.com/office/drawing/2014/main" val="1671316397"/>
                  </a:ext>
                </a:extLst>
              </a:tr>
              <a:tr h="370838">
                <a:tc>
                  <a:txBody>
                    <a:bodyPr/>
                    <a:lstStyle/>
                    <a:p>
                      <a:pPr lvl="0">
                        <a:buNone/>
                      </a:pPr>
                      <a:r>
                        <a:rPr lang="en-US" sz="1200"/>
                        <a:t>Source code Management</a:t>
                      </a:r>
                    </a:p>
                  </a:txBody>
                  <a:tcPr/>
                </a:tc>
                <a:tc>
                  <a:txBody>
                    <a:bodyPr/>
                    <a:lstStyle/>
                    <a:p>
                      <a:pPr marL="285750" lvl="0" indent="-285750">
                        <a:buFont typeface="Arial"/>
                        <a:buChar char="•"/>
                      </a:pPr>
                      <a:r>
                        <a:rPr lang="en-US" sz="1200"/>
                        <a:t>Git</a:t>
                      </a:r>
                    </a:p>
                    <a:p>
                      <a:pPr marL="285750" lvl="0" indent="-285750">
                        <a:buFont typeface="Arial"/>
                        <a:buChar char="•"/>
                      </a:pPr>
                      <a:r>
                        <a:rPr lang="en-US" sz="1200"/>
                        <a:t>GitHub</a:t>
                      </a:r>
                    </a:p>
                    <a:p>
                      <a:pPr marL="285750" lvl="0" indent="-285750">
                        <a:buFont typeface="Arial"/>
                        <a:buChar char="•"/>
                      </a:pPr>
                      <a:r>
                        <a:rPr lang="en-US" sz="1200"/>
                        <a:t>Bit Bucket</a:t>
                      </a:r>
                    </a:p>
                    <a:p>
                      <a:pPr marL="285750" lvl="0" indent="-285750">
                        <a:buFont typeface="Arial"/>
                        <a:buChar char="•"/>
                      </a:pPr>
                      <a:r>
                        <a:rPr lang="en-US" sz="1200"/>
                        <a:t>SVN</a:t>
                      </a:r>
                    </a:p>
                  </a:txBody>
                  <a:tcPr/>
                </a:tc>
                <a:tc>
                  <a:txBody>
                    <a:bodyPr/>
                    <a:lstStyle/>
                    <a:p>
                      <a:pPr lvl="0">
                        <a:buNone/>
                      </a:pPr>
                      <a:r>
                        <a:rPr lang="en-US" sz="1200"/>
                        <a:t>Easy collaboration</a:t>
                      </a:r>
                    </a:p>
                    <a:p>
                      <a:pPr lvl="0">
                        <a:buNone/>
                      </a:pPr>
                      <a:r>
                        <a:rPr lang="en-US" sz="1200"/>
                        <a:t>Automatic merges</a:t>
                      </a:r>
                    </a:p>
                  </a:txBody>
                  <a:tcPr/>
                </a:tc>
                <a:extLst>
                  <a:ext uri="{0D108BD9-81ED-4DB2-BD59-A6C34878D82A}">
                    <a16:rowId xmlns:a16="http://schemas.microsoft.com/office/drawing/2014/main" val="262558363"/>
                  </a:ext>
                </a:extLst>
              </a:tr>
              <a:tr h="370838">
                <a:tc>
                  <a:txBody>
                    <a:bodyPr/>
                    <a:lstStyle/>
                    <a:p>
                      <a:pPr lvl="0">
                        <a:buNone/>
                      </a:pPr>
                      <a:r>
                        <a:rPr lang="en-US" sz="1200"/>
                        <a:t>DevOps/ALM tools</a:t>
                      </a:r>
                    </a:p>
                  </a:txBody>
                  <a:tcPr/>
                </a:tc>
                <a:tc>
                  <a:txBody>
                    <a:bodyPr/>
                    <a:lstStyle/>
                    <a:p>
                      <a:pPr marL="285750" lvl="0" indent="-285750">
                        <a:buFont typeface="Arial"/>
                        <a:buChar char="•"/>
                      </a:pPr>
                      <a:r>
                        <a:rPr lang="en-US" sz="1200"/>
                        <a:t>Jira</a:t>
                      </a:r>
                    </a:p>
                    <a:p>
                      <a:pPr marL="285750" lvl="0" indent="-285750">
                        <a:buFont typeface="Arial"/>
                        <a:buChar char="•"/>
                      </a:pPr>
                      <a:r>
                        <a:rPr lang="en-US" sz="1200"/>
                        <a:t>Confluence</a:t>
                      </a:r>
                    </a:p>
                  </a:txBody>
                  <a:tcPr/>
                </a:tc>
                <a:tc>
                  <a:txBody>
                    <a:bodyPr/>
                    <a:lstStyle/>
                    <a:p>
                      <a:pPr lvl="0">
                        <a:buNone/>
                      </a:pPr>
                      <a:r>
                        <a:rPr lang="en-US" sz="1200"/>
                        <a:t>Commonly used</a:t>
                      </a:r>
                    </a:p>
                  </a:txBody>
                  <a:tcPr/>
                </a:tc>
                <a:extLst>
                  <a:ext uri="{0D108BD9-81ED-4DB2-BD59-A6C34878D82A}">
                    <a16:rowId xmlns:a16="http://schemas.microsoft.com/office/drawing/2014/main" val="3138508437"/>
                  </a:ext>
                </a:extLst>
              </a:tr>
              <a:tr h="370838">
                <a:tc>
                  <a:txBody>
                    <a:bodyPr/>
                    <a:lstStyle/>
                    <a:p>
                      <a:pPr lvl="0">
                        <a:buNone/>
                      </a:pPr>
                      <a:r>
                        <a:rPr lang="en-US" sz="1200"/>
                        <a:t>Monitoring</a:t>
                      </a:r>
                    </a:p>
                  </a:txBody>
                  <a:tcPr/>
                </a:tc>
                <a:tc>
                  <a:txBody>
                    <a:bodyPr/>
                    <a:lstStyle/>
                    <a:p>
                      <a:pPr marL="285750" lvl="0" indent="-285750">
                        <a:buFont typeface="Arial"/>
                        <a:buChar char="•"/>
                      </a:pPr>
                      <a:r>
                        <a:rPr lang="en-US" sz="1200"/>
                        <a:t>Splunk</a:t>
                      </a:r>
                    </a:p>
                    <a:p>
                      <a:pPr marL="285750" lvl="0" indent="-285750">
                        <a:buFont typeface="Arial"/>
                        <a:buChar char="•"/>
                      </a:pPr>
                      <a:r>
                        <a:rPr lang="en-US" sz="1200"/>
                        <a:t>Elastic</a:t>
                      </a:r>
                    </a:p>
                  </a:txBody>
                  <a:tcPr/>
                </a:tc>
                <a:tc>
                  <a:txBody>
                    <a:bodyPr/>
                    <a:lstStyle/>
                    <a:p>
                      <a:pPr lvl="0">
                        <a:buNone/>
                      </a:pPr>
                      <a:endParaRPr lang="en-US" sz="1200"/>
                    </a:p>
                  </a:txBody>
                  <a:tcPr/>
                </a:tc>
                <a:extLst>
                  <a:ext uri="{0D108BD9-81ED-4DB2-BD59-A6C34878D82A}">
                    <a16:rowId xmlns:a16="http://schemas.microsoft.com/office/drawing/2014/main" val="1350723425"/>
                  </a:ext>
                </a:extLst>
              </a:tr>
            </a:tbl>
          </a:graphicData>
        </a:graphic>
      </p:graphicFrame>
    </p:spTree>
    <p:extLst>
      <p:ext uri="{BB962C8B-B14F-4D97-AF65-F5344CB8AC3E}">
        <p14:creationId xmlns:p14="http://schemas.microsoft.com/office/powerpoint/2010/main" val="2070303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C6FB-C07D-FA14-C500-BC4C28BEB74E}"/>
              </a:ext>
            </a:extLst>
          </p:cNvPr>
          <p:cNvSpPr>
            <a:spLocks noGrp="1"/>
          </p:cNvSpPr>
          <p:nvPr>
            <p:ph type="title"/>
          </p:nvPr>
        </p:nvSpPr>
        <p:spPr>
          <a:xfrm>
            <a:off x="619736" y="163495"/>
            <a:ext cx="10947772" cy="472481"/>
          </a:xfrm>
        </p:spPr>
        <p:txBody>
          <a:bodyPr/>
          <a:lstStyle/>
          <a:p>
            <a:r>
              <a:rPr lang="en-US"/>
              <a:t>Delivery Tools – Engineering</a:t>
            </a:r>
          </a:p>
        </p:txBody>
      </p:sp>
      <p:pic>
        <p:nvPicPr>
          <p:cNvPr id="4" name="Picture 3" descr="A close-up of several logos&#10;&#10;Description automatically generated">
            <a:extLst>
              <a:ext uri="{FF2B5EF4-FFF2-40B4-BE49-F238E27FC236}">
                <a16:creationId xmlns:a16="http://schemas.microsoft.com/office/drawing/2014/main" id="{AE05F55A-61D6-8CDC-156B-403DF1590CA2}"/>
              </a:ext>
            </a:extLst>
          </p:cNvPr>
          <p:cNvPicPr>
            <a:picLocks noChangeAspect="1"/>
          </p:cNvPicPr>
          <p:nvPr/>
        </p:nvPicPr>
        <p:blipFill>
          <a:blip r:embed="rId2"/>
          <a:stretch>
            <a:fillRect/>
          </a:stretch>
        </p:blipFill>
        <p:spPr>
          <a:xfrm>
            <a:off x="579582" y="940479"/>
            <a:ext cx="11217562" cy="5358040"/>
          </a:xfrm>
          <a:prstGeom prst="rect">
            <a:avLst/>
          </a:prstGeom>
        </p:spPr>
      </p:pic>
    </p:spTree>
    <p:extLst>
      <p:ext uri="{BB962C8B-B14F-4D97-AF65-F5344CB8AC3E}">
        <p14:creationId xmlns:p14="http://schemas.microsoft.com/office/powerpoint/2010/main" val="3595769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7D22EE-655F-DC92-1C0D-962DE9476AB4}"/>
              </a:ext>
            </a:extLst>
          </p:cNvPr>
          <p:cNvSpPr/>
          <p:nvPr/>
        </p:nvSpPr>
        <p:spPr>
          <a:xfrm>
            <a:off x="6108094" y="821933"/>
            <a:ext cx="5765406" cy="58836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10">
            <a:extLst>
              <a:ext uri="{FF2B5EF4-FFF2-40B4-BE49-F238E27FC236}">
                <a16:creationId xmlns:a16="http://schemas.microsoft.com/office/drawing/2014/main" id="{4CD021F5-CF6D-17BE-891A-23910329F33A}"/>
              </a:ext>
            </a:extLst>
          </p:cNvPr>
          <p:cNvSpPr/>
          <p:nvPr/>
        </p:nvSpPr>
        <p:spPr>
          <a:xfrm>
            <a:off x="177909" y="821934"/>
            <a:ext cx="5688723" cy="593671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228600" y="152400"/>
            <a:ext cx="11020796" cy="533400"/>
          </a:xfrm>
        </p:spPr>
        <p:txBody>
          <a:bodyPr>
            <a:noAutofit/>
          </a:bodyPr>
          <a:lstStyle/>
          <a:p>
            <a:r>
              <a:rPr lang="en-US" sz="2800"/>
              <a:t>Delivery Tools – Engineering</a:t>
            </a:r>
            <a:endParaRPr lang="en-US"/>
          </a:p>
        </p:txBody>
      </p:sp>
      <p:sp>
        <p:nvSpPr>
          <p:cNvPr id="5" name="Arrow: Pentagon 4">
            <a:extLst>
              <a:ext uri="{FF2B5EF4-FFF2-40B4-BE49-F238E27FC236}">
                <a16:creationId xmlns:a16="http://schemas.microsoft.com/office/drawing/2014/main" id="{FF85A71F-0504-5E9D-1D51-323C645B7D4B}"/>
              </a:ext>
            </a:extLst>
          </p:cNvPr>
          <p:cNvSpPr/>
          <p:nvPr/>
        </p:nvSpPr>
        <p:spPr>
          <a:xfrm>
            <a:off x="6114867" y="1762615"/>
            <a:ext cx="1151357" cy="73922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a:t>IDE</a:t>
            </a:r>
          </a:p>
        </p:txBody>
      </p:sp>
      <p:pic>
        <p:nvPicPr>
          <p:cNvPr id="2052" name="Picture 4" descr="Top 10 Python IDE and Code Editors - InterviewBit">
            <a:extLst>
              <a:ext uri="{FF2B5EF4-FFF2-40B4-BE49-F238E27FC236}">
                <a16:creationId xmlns:a16="http://schemas.microsoft.com/office/drawing/2014/main" id="{79CD2D8A-0DC3-C8DB-88BC-BFF319A282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3476" y="928491"/>
            <a:ext cx="4502279" cy="243037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6EA7F323-52F4-501E-3391-D9445A3CE08D}"/>
              </a:ext>
            </a:extLst>
          </p:cNvPr>
          <p:cNvCxnSpPr>
            <a:cxnSpLocks/>
          </p:cNvCxnSpPr>
          <p:nvPr/>
        </p:nvCxnSpPr>
        <p:spPr>
          <a:xfrm>
            <a:off x="6283533" y="3422426"/>
            <a:ext cx="5348089" cy="12096"/>
          </a:xfrm>
          <a:prstGeom prst="line">
            <a:avLst/>
          </a:prstGeom>
          <a:ln w="31750"/>
        </p:spPr>
        <p:style>
          <a:lnRef idx="1">
            <a:schemeClr val="accent1"/>
          </a:lnRef>
          <a:fillRef idx="0">
            <a:schemeClr val="accent1"/>
          </a:fillRef>
          <a:effectRef idx="0">
            <a:schemeClr val="accent1"/>
          </a:effectRef>
          <a:fontRef idx="minor">
            <a:schemeClr val="tx1"/>
          </a:fontRef>
        </p:style>
      </p:cxnSp>
      <p:pic>
        <p:nvPicPr>
          <p:cNvPr id="2058" name="Picture 10" descr="The top Java unit testing frameworks &amp; tools">
            <a:extLst>
              <a:ext uri="{FF2B5EF4-FFF2-40B4-BE49-F238E27FC236}">
                <a16:creationId xmlns:a16="http://schemas.microsoft.com/office/drawing/2014/main" id="{76B3C202-F788-FE35-EE4F-B33DD6576A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5151" y="3546466"/>
            <a:ext cx="4502279" cy="2776756"/>
          </a:xfrm>
          <a:prstGeom prst="rect">
            <a:avLst/>
          </a:prstGeom>
          <a:noFill/>
          <a:extLst>
            <a:ext uri="{909E8E84-426E-40DD-AFC4-6F175D3DCCD1}">
              <a14:hiddenFill xmlns:a14="http://schemas.microsoft.com/office/drawing/2010/main">
                <a:solidFill>
                  <a:srgbClr val="FFFFFF"/>
                </a:solidFill>
              </a14:hiddenFill>
            </a:ext>
          </a:extLst>
        </p:spPr>
      </p:pic>
      <p:sp>
        <p:nvSpPr>
          <p:cNvPr id="23" name="Arrow: Pentagon 22">
            <a:extLst>
              <a:ext uri="{FF2B5EF4-FFF2-40B4-BE49-F238E27FC236}">
                <a16:creationId xmlns:a16="http://schemas.microsoft.com/office/drawing/2014/main" id="{FCDF9818-B94B-0B5B-63AC-D0FB06E68E69}"/>
              </a:ext>
            </a:extLst>
          </p:cNvPr>
          <p:cNvSpPr/>
          <p:nvPr/>
        </p:nvSpPr>
        <p:spPr>
          <a:xfrm>
            <a:off x="6103306" y="4433243"/>
            <a:ext cx="1163452" cy="70293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a:t>Unit Testing</a:t>
            </a:r>
          </a:p>
        </p:txBody>
      </p:sp>
      <p:grpSp>
        <p:nvGrpSpPr>
          <p:cNvPr id="6" name="Group 5">
            <a:extLst>
              <a:ext uri="{FF2B5EF4-FFF2-40B4-BE49-F238E27FC236}">
                <a16:creationId xmlns:a16="http://schemas.microsoft.com/office/drawing/2014/main" id="{510A3C41-EC29-004D-FC8E-BD3F98111467}"/>
              </a:ext>
            </a:extLst>
          </p:cNvPr>
          <p:cNvGrpSpPr/>
          <p:nvPr/>
        </p:nvGrpSpPr>
        <p:grpSpPr>
          <a:xfrm>
            <a:off x="231770" y="887808"/>
            <a:ext cx="5452676" cy="5190337"/>
            <a:chOff x="207580" y="887808"/>
            <a:chExt cx="5622009" cy="3521195"/>
          </a:xfrm>
        </p:grpSpPr>
        <p:sp>
          <p:nvSpPr>
            <p:cNvPr id="2" name="Arrow: Pentagon 1">
              <a:extLst>
                <a:ext uri="{FF2B5EF4-FFF2-40B4-BE49-F238E27FC236}">
                  <a16:creationId xmlns:a16="http://schemas.microsoft.com/office/drawing/2014/main" id="{4E5977AB-5381-ACD4-4B40-F91E5DDE361A}"/>
                </a:ext>
              </a:extLst>
            </p:cNvPr>
            <p:cNvSpPr/>
            <p:nvPr/>
          </p:nvSpPr>
          <p:spPr>
            <a:xfrm>
              <a:off x="226448" y="1315091"/>
              <a:ext cx="1078786" cy="6061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a:t>Containers</a:t>
              </a:r>
            </a:p>
          </p:txBody>
        </p:sp>
        <p:pic>
          <p:nvPicPr>
            <p:cNvPr id="3" name="Picture 10" descr="Next Generation Tool For Containers | Monitoring tool and Visualization Tool  | Weave Scope | Docker - YouTube">
              <a:extLst>
                <a:ext uri="{FF2B5EF4-FFF2-40B4-BE49-F238E27FC236}">
                  <a16:creationId xmlns:a16="http://schemas.microsoft.com/office/drawing/2014/main" id="{C571CAB4-F698-3C67-CA2D-1CBD3AE0DB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5440" y="887808"/>
              <a:ext cx="3729520" cy="16002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ACFDA79-14C1-59B3-F699-54D17135D390}"/>
                </a:ext>
              </a:extLst>
            </p:cNvPr>
            <p:cNvCxnSpPr>
              <a:cxnSpLocks/>
            </p:cNvCxnSpPr>
            <p:nvPr/>
          </p:nvCxnSpPr>
          <p:spPr>
            <a:xfrm flipV="1">
              <a:off x="390588" y="2616048"/>
              <a:ext cx="5190847" cy="8092"/>
            </a:xfrm>
            <a:prstGeom prst="line">
              <a:avLst/>
            </a:prstGeom>
            <a:ln w="31750"/>
          </p:spPr>
          <p:style>
            <a:lnRef idx="1">
              <a:schemeClr val="accent1"/>
            </a:lnRef>
            <a:fillRef idx="0">
              <a:schemeClr val="accent1"/>
            </a:fillRef>
            <a:effectRef idx="0">
              <a:schemeClr val="accent1"/>
            </a:effectRef>
            <a:fontRef idx="minor">
              <a:schemeClr val="tx1"/>
            </a:fontRef>
          </p:style>
        </p:cxnSp>
        <p:pic>
          <p:nvPicPr>
            <p:cNvPr id="2064" name="Picture 16" descr="Top 4 Collaboration Software - How to Pick the Right One - Tallyfy">
              <a:extLst>
                <a:ext uri="{FF2B5EF4-FFF2-40B4-BE49-F238E27FC236}">
                  <a16:creationId xmlns:a16="http://schemas.microsoft.com/office/drawing/2014/main" id="{EE313B8A-F00C-D494-4B2C-38F8D978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7888" y="2789753"/>
              <a:ext cx="4481701" cy="1619250"/>
            </a:xfrm>
            <a:prstGeom prst="rect">
              <a:avLst/>
            </a:prstGeom>
            <a:noFill/>
            <a:extLst>
              <a:ext uri="{909E8E84-426E-40DD-AFC4-6F175D3DCCD1}">
                <a14:hiddenFill xmlns:a14="http://schemas.microsoft.com/office/drawing/2010/main">
                  <a:solidFill>
                    <a:srgbClr val="FFFFFF"/>
                  </a:solidFill>
                </a14:hiddenFill>
              </a:ext>
            </a:extLst>
          </p:spPr>
        </p:pic>
        <p:sp>
          <p:nvSpPr>
            <p:cNvPr id="24" name="Arrow: Pentagon 23">
              <a:extLst>
                <a:ext uri="{FF2B5EF4-FFF2-40B4-BE49-F238E27FC236}">
                  <a16:creationId xmlns:a16="http://schemas.microsoft.com/office/drawing/2014/main" id="{0238F563-5152-6A2B-B687-F9CBFA621DCB}"/>
                </a:ext>
              </a:extLst>
            </p:cNvPr>
            <p:cNvSpPr/>
            <p:nvPr/>
          </p:nvSpPr>
          <p:spPr>
            <a:xfrm>
              <a:off x="207580" y="3125912"/>
              <a:ext cx="1210312" cy="6061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a:t>Collaboration</a:t>
              </a:r>
            </a:p>
          </p:txBody>
        </p:sp>
      </p:grpSp>
    </p:spTree>
    <p:extLst>
      <p:ext uri="{BB962C8B-B14F-4D97-AF65-F5344CB8AC3E}">
        <p14:creationId xmlns:p14="http://schemas.microsoft.com/office/powerpoint/2010/main" val="16635536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acf595f-9873-4e10-af74-64648c05101c">
      <UserInfo>
        <DisplayName>SharingLinks.a226fc44-03ab-4a2d-9615-9221dae9c710.Flexible.a2b085b2-ab6c-4448-9caf-6152a8079917</DisplayName>
        <AccountId>21</AccountId>
        <AccountType/>
      </UserInfo>
      <UserInfo>
        <DisplayName>Ashtekar, Amit</DisplayName>
        <AccountId>5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86EB5281086B446A36F1D4D36E9EA7B" ma:contentTypeVersion="10" ma:contentTypeDescription="Create a new document." ma:contentTypeScope="" ma:versionID="294ac9e458bb21622824440dd8c42231">
  <xsd:schema xmlns:xsd="http://www.w3.org/2001/XMLSchema" xmlns:xs="http://www.w3.org/2001/XMLSchema" xmlns:p="http://schemas.microsoft.com/office/2006/metadata/properties" xmlns:ns2="8715c2ce-fdf3-4ec1-bdd7-c8e6a52a95c6" xmlns:ns3="aacf595f-9873-4e10-af74-64648c05101c" targetNamespace="http://schemas.microsoft.com/office/2006/metadata/properties" ma:root="true" ma:fieldsID="38e075d2b4805d7650b59abe7d2692d4" ns2:_="" ns3:_="">
    <xsd:import namespace="8715c2ce-fdf3-4ec1-bdd7-c8e6a52a95c6"/>
    <xsd:import namespace="aacf595f-9873-4e10-af74-64648c0510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15c2ce-fdf3-4ec1-bdd7-c8e6a52a95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acf595f-9873-4e10-af74-64648c05101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a0f13715-315a-4737-b42c-bb67a101ccbb"/>
    <ds:schemaRef ds:uri="a60041f2-4711-4875-a8a6-038e92dc3d56"/>
    <ds:schemaRef ds:uri="bb918be7-701e-43e0-9032-0b79b4338a2e"/>
    <ds:schemaRef ds:uri="d574c608-d1ce-4a57-a23b-01cd045e9cd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76E0604-5103-4A77-BF75-27939BC4DD82}"/>
</file>

<file path=docProps/app.xml><?xml version="1.0" encoding="utf-8"?>
<Properties xmlns="http://schemas.openxmlformats.org/officeDocument/2006/extended-properties" xmlns:vt="http://schemas.openxmlformats.org/officeDocument/2006/docPropsVTypes">
  <Template>Capgemini Transformation Proposal for Barclays Corp_v0.1 (2)</Template>
  <Application>Microsoft Office PowerPoint</Application>
  <PresentationFormat>Widescreen</PresentationFormat>
  <Slides>11</Slides>
  <Notes>3</Notes>
  <HiddenSlides>1</HiddenSlides>
  <ScaleCrop>false</ScaleCrop>
  <HeadingPairs>
    <vt:vector size="4" baseType="variant">
      <vt:variant>
        <vt:lpstr>Theme</vt:lpstr>
      </vt:variant>
      <vt:variant>
        <vt:i4>2</vt:i4>
      </vt:variant>
      <vt:variant>
        <vt:lpstr>Slide Titles</vt:lpstr>
      </vt:variant>
      <vt:variant>
        <vt:i4>11</vt:i4>
      </vt:variant>
    </vt:vector>
  </HeadingPairs>
  <TitlesOfParts>
    <vt:vector size="13" baseType="lpstr">
      <vt:lpstr>Capgemini Master 2021</vt:lpstr>
      <vt:lpstr>Cover options_Section</vt:lpstr>
      <vt:lpstr>PowerPoint Presentation</vt:lpstr>
      <vt:lpstr>PowerPoint Presentation</vt:lpstr>
      <vt:lpstr>Contents of this playbook</vt:lpstr>
      <vt:lpstr>Typical Java Delivery lifecycle</vt:lpstr>
      <vt:lpstr>JAVA DELIVERY LIFECYCLE – Deliverables  </vt:lpstr>
      <vt:lpstr>JAVA DELIVERY LIFECYCLE – Deliverables  </vt:lpstr>
      <vt:lpstr>Recommended Standards, Tools, Frameworks</vt:lpstr>
      <vt:lpstr>Delivery Tools – Engineering</vt:lpstr>
      <vt:lpstr>Delivery Tools – Engineering</vt:lpstr>
      <vt:lpstr>Reference to Delivery Play Book</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More, Abhijit</dc:creator>
  <cp:revision>1</cp:revision>
  <dcterms:created xsi:type="dcterms:W3CDTF">2021-09-14T07:23:18Z</dcterms:created>
  <dcterms:modified xsi:type="dcterms:W3CDTF">2023-12-07T06:30:1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6EB5281086B446A36F1D4D36E9EA7B</vt:lpwstr>
  </property>
  <property fmtid="{D5CDD505-2E9C-101B-9397-08002B2CF9AE}" pid="3" name="MediaServiceImageTags">
    <vt:lpwstr/>
  </property>
</Properties>
</file>